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269" r:id="rId4"/>
    <p:sldId id="272" r:id="rId5"/>
    <p:sldId id="273" r:id="rId6"/>
    <p:sldId id="271" r:id="rId7"/>
    <p:sldId id="259" r:id="rId8"/>
    <p:sldId id="262" r:id="rId9"/>
    <p:sldId id="264" r:id="rId10"/>
    <p:sldId id="260" r:id="rId11"/>
    <p:sldId id="265" r:id="rId12"/>
    <p:sldId id="266" r:id="rId13"/>
    <p:sldId id="267" r:id="rId14"/>
    <p:sldId id="274" r:id="rId15"/>
    <p:sldId id="270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358A"/>
    <a:srgbClr val="ECF4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7" autoAdjust="0"/>
    <p:restoredTop sz="94555" autoAdjust="0"/>
  </p:normalViewPr>
  <p:slideViewPr>
    <p:cSldViewPr snapToGrid="0" showGuides="1">
      <p:cViewPr>
        <p:scale>
          <a:sx n="103" d="100"/>
          <a:sy n="103" d="100"/>
        </p:scale>
        <p:origin x="-1448" y="-16"/>
      </p:cViewPr>
      <p:guideLst>
        <p:guide orient="horz" pos="1836"/>
        <p:guide pos="4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printerSettings" Target="printerSettings/printerSettings1.bin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01286A-86EE-AA4B-8B89-3AA1A04C577F}" type="doc">
      <dgm:prSet loTypeId="urn:microsoft.com/office/officeart/2005/8/layout/vProcess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922A741-2432-1A4E-B3A7-6570CF90331A}">
      <dgm:prSet phldrT="[Text]"/>
      <dgm:spPr/>
      <dgm:t>
        <a:bodyPr/>
        <a:lstStyle/>
        <a:p>
          <a:r>
            <a:rPr lang="en-US" dirty="0" smtClean="0"/>
            <a:t>International reach: data about any EU citizen</a:t>
          </a:r>
          <a:endParaRPr lang="en-US" dirty="0"/>
        </a:p>
      </dgm:t>
    </dgm:pt>
    <dgm:pt modelId="{0EFD3330-2BCE-784F-B406-71073563389B}" type="parTrans" cxnId="{05C28593-44A8-0D49-AB15-E8374C25363A}">
      <dgm:prSet/>
      <dgm:spPr/>
      <dgm:t>
        <a:bodyPr/>
        <a:lstStyle/>
        <a:p>
          <a:endParaRPr lang="en-US"/>
        </a:p>
      </dgm:t>
    </dgm:pt>
    <dgm:pt modelId="{E36EA524-A82A-B145-B397-0B04FFC44C33}" type="sibTrans" cxnId="{05C28593-44A8-0D49-AB15-E8374C25363A}">
      <dgm:prSet/>
      <dgm:spPr/>
      <dgm:t>
        <a:bodyPr/>
        <a:lstStyle/>
        <a:p>
          <a:endParaRPr lang="en-US"/>
        </a:p>
      </dgm:t>
    </dgm:pt>
    <dgm:pt modelId="{97807C88-D733-6748-88A7-FF2BD72D1BE7}">
      <dgm:prSet phldrT="[Text]"/>
      <dgm:spPr/>
      <dgm:t>
        <a:bodyPr/>
        <a:lstStyle/>
        <a:p>
          <a:r>
            <a:rPr lang="en-US" dirty="0" smtClean="0"/>
            <a:t>Fines </a:t>
          </a:r>
          <a:r>
            <a:rPr lang="en-US" dirty="0" err="1" smtClean="0"/>
            <a:t>upto</a:t>
          </a:r>
          <a:r>
            <a:rPr lang="en-US" dirty="0" smtClean="0"/>
            <a:t> €20M or 4% of global turnover</a:t>
          </a:r>
          <a:endParaRPr lang="en-US" dirty="0"/>
        </a:p>
      </dgm:t>
    </dgm:pt>
    <dgm:pt modelId="{4FB8367F-19F6-4740-BC68-E380DBCA4A44}" type="parTrans" cxnId="{AE6F7672-3163-7243-B4D3-6356B04F89D9}">
      <dgm:prSet/>
      <dgm:spPr/>
      <dgm:t>
        <a:bodyPr/>
        <a:lstStyle/>
        <a:p>
          <a:endParaRPr lang="en-US"/>
        </a:p>
      </dgm:t>
    </dgm:pt>
    <dgm:pt modelId="{B5F17B4F-9FA2-AE47-938F-5C1A819B3A59}" type="sibTrans" cxnId="{AE6F7672-3163-7243-B4D3-6356B04F89D9}">
      <dgm:prSet/>
      <dgm:spPr/>
      <dgm:t>
        <a:bodyPr/>
        <a:lstStyle/>
        <a:p>
          <a:endParaRPr lang="en-US"/>
        </a:p>
      </dgm:t>
    </dgm:pt>
    <dgm:pt modelId="{84BBA6F4-C29C-C242-AF94-6BFAB3ED8EF5}">
      <dgm:prSet phldrT="[Text]"/>
      <dgm:spPr/>
      <dgm:t>
        <a:bodyPr/>
        <a:lstStyle/>
        <a:p>
          <a:r>
            <a:rPr lang="en-US" dirty="0" smtClean="0"/>
            <a:t>Must Demonstrate compliance</a:t>
          </a:r>
        </a:p>
      </dgm:t>
    </dgm:pt>
    <dgm:pt modelId="{CD7FE6A5-4BCE-BE43-A4FD-5B6D609ED420}" type="parTrans" cxnId="{624BA18B-4728-2E46-9514-B6CE08B0FF54}">
      <dgm:prSet/>
      <dgm:spPr/>
      <dgm:t>
        <a:bodyPr/>
        <a:lstStyle/>
        <a:p>
          <a:endParaRPr lang="en-US"/>
        </a:p>
      </dgm:t>
    </dgm:pt>
    <dgm:pt modelId="{AE3B375D-F2D1-6542-9508-3D0B50CD2655}" type="sibTrans" cxnId="{624BA18B-4728-2E46-9514-B6CE08B0FF54}">
      <dgm:prSet/>
      <dgm:spPr/>
      <dgm:t>
        <a:bodyPr/>
        <a:lstStyle/>
        <a:p>
          <a:endParaRPr lang="en-US"/>
        </a:p>
      </dgm:t>
    </dgm:pt>
    <dgm:pt modelId="{547E8414-A811-044F-A6DC-C44FE7401AAF}">
      <dgm:prSet phldrT="[Text]"/>
      <dgm:spPr/>
      <dgm:t>
        <a:bodyPr/>
        <a:lstStyle/>
        <a:p>
          <a:r>
            <a:rPr lang="en-US" dirty="0" smtClean="0"/>
            <a:t>Processing lawful only through Informed Consent</a:t>
          </a:r>
        </a:p>
      </dgm:t>
    </dgm:pt>
    <dgm:pt modelId="{C2266125-CDF1-A341-BE90-75DF0E93FBE8}" type="parTrans" cxnId="{85347031-E375-D346-A08D-DAAC00ADF691}">
      <dgm:prSet/>
      <dgm:spPr/>
      <dgm:t>
        <a:bodyPr/>
        <a:lstStyle/>
        <a:p>
          <a:endParaRPr lang="en-US"/>
        </a:p>
      </dgm:t>
    </dgm:pt>
    <dgm:pt modelId="{E3B060D1-208F-AE40-BE12-15F98AC6E037}" type="sibTrans" cxnId="{85347031-E375-D346-A08D-DAAC00ADF691}">
      <dgm:prSet/>
      <dgm:spPr/>
      <dgm:t>
        <a:bodyPr/>
        <a:lstStyle/>
        <a:p>
          <a:endParaRPr lang="en-US"/>
        </a:p>
      </dgm:t>
    </dgm:pt>
    <dgm:pt modelId="{C8394031-45B8-C943-A684-B6140787E4E9}" type="pres">
      <dgm:prSet presAssocID="{0201286A-86EE-AA4B-8B89-3AA1A04C577F}" presName="outerComposite" presStyleCnt="0">
        <dgm:presLayoutVars>
          <dgm:chMax val="5"/>
          <dgm:dir/>
          <dgm:resizeHandles val="exact"/>
        </dgm:presLayoutVars>
      </dgm:prSet>
      <dgm:spPr/>
    </dgm:pt>
    <dgm:pt modelId="{360A562D-4707-7446-A62A-5C26DE3ECE95}" type="pres">
      <dgm:prSet presAssocID="{0201286A-86EE-AA4B-8B89-3AA1A04C577F}" presName="dummyMaxCanvas" presStyleCnt="0">
        <dgm:presLayoutVars/>
      </dgm:prSet>
      <dgm:spPr/>
    </dgm:pt>
    <dgm:pt modelId="{687912B8-C07C-8A4C-8D4B-B55AC7BC7527}" type="pres">
      <dgm:prSet presAssocID="{0201286A-86EE-AA4B-8B89-3AA1A04C577F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1A64EA-10A0-4643-A4B4-5CC3DE2E6AAD}" type="pres">
      <dgm:prSet presAssocID="{0201286A-86EE-AA4B-8B89-3AA1A04C577F}" presName="FourNodes_2" presStyleLbl="node1" presStyleIdx="1" presStyleCnt="4">
        <dgm:presLayoutVars>
          <dgm:bulletEnabled val="1"/>
        </dgm:presLayoutVars>
      </dgm:prSet>
      <dgm:spPr/>
    </dgm:pt>
    <dgm:pt modelId="{74180C1B-274D-7B4B-BED5-A89E54418A60}" type="pres">
      <dgm:prSet presAssocID="{0201286A-86EE-AA4B-8B89-3AA1A04C577F}" presName="FourNodes_3" presStyleLbl="node1" presStyleIdx="2" presStyleCnt="4">
        <dgm:presLayoutVars>
          <dgm:bulletEnabled val="1"/>
        </dgm:presLayoutVars>
      </dgm:prSet>
      <dgm:spPr/>
    </dgm:pt>
    <dgm:pt modelId="{B3545E0F-2C7A-5F47-A823-B8A6759FDCD2}" type="pres">
      <dgm:prSet presAssocID="{0201286A-86EE-AA4B-8B89-3AA1A04C577F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2C971D-FA45-D645-A909-A6AF5AAB8AB4}" type="pres">
      <dgm:prSet presAssocID="{0201286A-86EE-AA4B-8B89-3AA1A04C577F}" presName="FourConn_1-2" presStyleLbl="fgAccFollowNode1" presStyleIdx="0" presStyleCnt="3">
        <dgm:presLayoutVars>
          <dgm:bulletEnabled val="1"/>
        </dgm:presLayoutVars>
      </dgm:prSet>
      <dgm:spPr/>
    </dgm:pt>
    <dgm:pt modelId="{C7290816-3E5F-EA4C-B663-FFD646525D4E}" type="pres">
      <dgm:prSet presAssocID="{0201286A-86EE-AA4B-8B89-3AA1A04C577F}" presName="FourConn_2-3" presStyleLbl="fgAccFollowNode1" presStyleIdx="1" presStyleCnt="3">
        <dgm:presLayoutVars>
          <dgm:bulletEnabled val="1"/>
        </dgm:presLayoutVars>
      </dgm:prSet>
      <dgm:spPr/>
    </dgm:pt>
    <dgm:pt modelId="{61C561B3-69A2-8E4B-801C-58CC688B03E7}" type="pres">
      <dgm:prSet presAssocID="{0201286A-86EE-AA4B-8B89-3AA1A04C577F}" presName="FourConn_3-4" presStyleLbl="fgAccFollowNode1" presStyleIdx="2" presStyleCnt="3">
        <dgm:presLayoutVars>
          <dgm:bulletEnabled val="1"/>
        </dgm:presLayoutVars>
      </dgm:prSet>
      <dgm:spPr/>
    </dgm:pt>
    <dgm:pt modelId="{317F6623-F368-214D-878D-4D9A8A5515B2}" type="pres">
      <dgm:prSet presAssocID="{0201286A-86EE-AA4B-8B89-3AA1A04C577F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EC4263-3F2C-804F-B92C-54C12B0ECD26}" type="pres">
      <dgm:prSet presAssocID="{0201286A-86EE-AA4B-8B89-3AA1A04C577F}" presName="FourNodes_2_text" presStyleLbl="node1" presStyleIdx="3" presStyleCnt="4">
        <dgm:presLayoutVars>
          <dgm:bulletEnabled val="1"/>
        </dgm:presLayoutVars>
      </dgm:prSet>
      <dgm:spPr/>
    </dgm:pt>
    <dgm:pt modelId="{233790CA-85A7-3744-9A32-E8615BE78EE8}" type="pres">
      <dgm:prSet presAssocID="{0201286A-86EE-AA4B-8B89-3AA1A04C577F}" presName="FourNodes_3_text" presStyleLbl="node1" presStyleIdx="3" presStyleCnt="4">
        <dgm:presLayoutVars>
          <dgm:bulletEnabled val="1"/>
        </dgm:presLayoutVars>
      </dgm:prSet>
      <dgm:spPr/>
    </dgm:pt>
    <dgm:pt modelId="{5F8B2A4D-3236-5B4F-B622-67F6F5788AED}" type="pres">
      <dgm:prSet presAssocID="{0201286A-86EE-AA4B-8B89-3AA1A04C577F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E4A91A7-0FF5-CA41-83AF-A9013E573F78}" type="presOf" srcId="{547E8414-A811-044F-A6DC-C44FE7401AAF}" destId="{B3545E0F-2C7A-5F47-A823-B8A6759FDCD2}" srcOrd="0" destOrd="0" presId="urn:microsoft.com/office/officeart/2005/8/layout/vProcess5"/>
    <dgm:cxn modelId="{441126B1-B411-6849-B97F-BB50C5992041}" type="presOf" srcId="{B5F17B4F-9FA2-AE47-938F-5C1A819B3A59}" destId="{C7290816-3E5F-EA4C-B663-FFD646525D4E}" srcOrd="0" destOrd="0" presId="urn:microsoft.com/office/officeart/2005/8/layout/vProcess5"/>
    <dgm:cxn modelId="{1ADD436B-1143-0B45-8689-9458F6C5D5FE}" type="presOf" srcId="{E36EA524-A82A-B145-B397-0B04FFC44C33}" destId="{262C971D-FA45-D645-A909-A6AF5AAB8AB4}" srcOrd="0" destOrd="0" presId="urn:microsoft.com/office/officeart/2005/8/layout/vProcess5"/>
    <dgm:cxn modelId="{04522FBD-A76B-334D-867F-308AD609F301}" type="presOf" srcId="{F922A741-2432-1A4E-B3A7-6570CF90331A}" destId="{317F6623-F368-214D-878D-4D9A8A5515B2}" srcOrd="1" destOrd="0" presId="urn:microsoft.com/office/officeart/2005/8/layout/vProcess5"/>
    <dgm:cxn modelId="{93A605F8-92F2-D84E-9664-9EE6A57E64A7}" type="presOf" srcId="{84BBA6F4-C29C-C242-AF94-6BFAB3ED8EF5}" destId="{233790CA-85A7-3744-9A32-E8615BE78EE8}" srcOrd="1" destOrd="0" presId="urn:microsoft.com/office/officeart/2005/8/layout/vProcess5"/>
    <dgm:cxn modelId="{624BA18B-4728-2E46-9514-B6CE08B0FF54}" srcId="{0201286A-86EE-AA4B-8B89-3AA1A04C577F}" destId="{84BBA6F4-C29C-C242-AF94-6BFAB3ED8EF5}" srcOrd="2" destOrd="0" parTransId="{CD7FE6A5-4BCE-BE43-A4FD-5B6D609ED420}" sibTransId="{AE3B375D-F2D1-6542-9508-3D0B50CD2655}"/>
    <dgm:cxn modelId="{AE6F7672-3163-7243-B4D3-6356B04F89D9}" srcId="{0201286A-86EE-AA4B-8B89-3AA1A04C577F}" destId="{97807C88-D733-6748-88A7-FF2BD72D1BE7}" srcOrd="1" destOrd="0" parTransId="{4FB8367F-19F6-4740-BC68-E380DBCA4A44}" sibTransId="{B5F17B4F-9FA2-AE47-938F-5C1A819B3A59}"/>
    <dgm:cxn modelId="{618B5716-C634-A543-A39D-816A82721375}" type="presOf" srcId="{84BBA6F4-C29C-C242-AF94-6BFAB3ED8EF5}" destId="{74180C1B-274D-7B4B-BED5-A89E54418A60}" srcOrd="0" destOrd="0" presId="urn:microsoft.com/office/officeart/2005/8/layout/vProcess5"/>
    <dgm:cxn modelId="{4C5D7014-69B1-434A-922C-F568E9FA9F2F}" type="presOf" srcId="{F922A741-2432-1A4E-B3A7-6570CF90331A}" destId="{687912B8-C07C-8A4C-8D4B-B55AC7BC7527}" srcOrd="0" destOrd="0" presId="urn:microsoft.com/office/officeart/2005/8/layout/vProcess5"/>
    <dgm:cxn modelId="{D07E5460-C71D-5542-B350-7D6D37927084}" type="presOf" srcId="{97807C88-D733-6748-88A7-FF2BD72D1BE7}" destId="{0AEC4263-3F2C-804F-B92C-54C12B0ECD26}" srcOrd="1" destOrd="0" presId="urn:microsoft.com/office/officeart/2005/8/layout/vProcess5"/>
    <dgm:cxn modelId="{0DF10C81-F442-5D44-A8E8-CB02C76E2212}" type="presOf" srcId="{97807C88-D733-6748-88A7-FF2BD72D1BE7}" destId="{6E1A64EA-10A0-4643-A4B4-5CC3DE2E6AAD}" srcOrd="0" destOrd="0" presId="urn:microsoft.com/office/officeart/2005/8/layout/vProcess5"/>
    <dgm:cxn modelId="{05C28593-44A8-0D49-AB15-E8374C25363A}" srcId="{0201286A-86EE-AA4B-8B89-3AA1A04C577F}" destId="{F922A741-2432-1A4E-B3A7-6570CF90331A}" srcOrd="0" destOrd="0" parTransId="{0EFD3330-2BCE-784F-B406-71073563389B}" sibTransId="{E36EA524-A82A-B145-B397-0B04FFC44C33}"/>
    <dgm:cxn modelId="{85347031-E375-D346-A08D-DAAC00ADF691}" srcId="{0201286A-86EE-AA4B-8B89-3AA1A04C577F}" destId="{547E8414-A811-044F-A6DC-C44FE7401AAF}" srcOrd="3" destOrd="0" parTransId="{C2266125-CDF1-A341-BE90-75DF0E93FBE8}" sibTransId="{E3B060D1-208F-AE40-BE12-15F98AC6E037}"/>
    <dgm:cxn modelId="{D7D41115-4E84-374D-840E-BB781E9BF548}" type="presOf" srcId="{AE3B375D-F2D1-6542-9508-3D0B50CD2655}" destId="{61C561B3-69A2-8E4B-801C-58CC688B03E7}" srcOrd="0" destOrd="0" presId="urn:microsoft.com/office/officeart/2005/8/layout/vProcess5"/>
    <dgm:cxn modelId="{8B159DB6-CEDA-EC40-93E3-3785EC6F5E30}" type="presOf" srcId="{547E8414-A811-044F-A6DC-C44FE7401AAF}" destId="{5F8B2A4D-3236-5B4F-B622-67F6F5788AED}" srcOrd="1" destOrd="0" presId="urn:microsoft.com/office/officeart/2005/8/layout/vProcess5"/>
    <dgm:cxn modelId="{F8D0405A-D43C-6648-BB24-4CE0FD196978}" type="presOf" srcId="{0201286A-86EE-AA4B-8B89-3AA1A04C577F}" destId="{C8394031-45B8-C943-A684-B6140787E4E9}" srcOrd="0" destOrd="0" presId="urn:microsoft.com/office/officeart/2005/8/layout/vProcess5"/>
    <dgm:cxn modelId="{E44D3C7D-19FA-E24F-8D77-9C0B095E123E}" type="presParOf" srcId="{C8394031-45B8-C943-A684-B6140787E4E9}" destId="{360A562D-4707-7446-A62A-5C26DE3ECE95}" srcOrd="0" destOrd="0" presId="urn:microsoft.com/office/officeart/2005/8/layout/vProcess5"/>
    <dgm:cxn modelId="{65915088-460D-134E-85B1-43D81DDF0119}" type="presParOf" srcId="{C8394031-45B8-C943-A684-B6140787E4E9}" destId="{687912B8-C07C-8A4C-8D4B-B55AC7BC7527}" srcOrd="1" destOrd="0" presId="urn:microsoft.com/office/officeart/2005/8/layout/vProcess5"/>
    <dgm:cxn modelId="{CACE79A7-84FD-AE49-9228-8A70DD1CCF89}" type="presParOf" srcId="{C8394031-45B8-C943-A684-B6140787E4E9}" destId="{6E1A64EA-10A0-4643-A4B4-5CC3DE2E6AAD}" srcOrd="2" destOrd="0" presId="urn:microsoft.com/office/officeart/2005/8/layout/vProcess5"/>
    <dgm:cxn modelId="{962E85E6-67C4-DC4A-82B0-5D424C16211D}" type="presParOf" srcId="{C8394031-45B8-C943-A684-B6140787E4E9}" destId="{74180C1B-274D-7B4B-BED5-A89E54418A60}" srcOrd="3" destOrd="0" presId="urn:microsoft.com/office/officeart/2005/8/layout/vProcess5"/>
    <dgm:cxn modelId="{05D9D10A-BE89-2149-9FB0-E60455FFE6D4}" type="presParOf" srcId="{C8394031-45B8-C943-A684-B6140787E4E9}" destId="{B3545E0F-2C7A-5F47-A823-B8A6759FDCD2}" srcOrd="4" destOrd="0" presId="urn:microsoft.com/office/officeart/2005/8/layout/vProcess5"/>
    <dgm:cxn modelId="{B27061F6-454E-7743-9628-76E28BF5E55D}" type="presParOf" srcId="{C8394031-45B8-C943-A684-B6140787E4E9}" destId="{262C971D-FA45-D645-A909-A6AF5AAB8AB4}" srcOrd="5" destOrd="0" presId="urn:microsoft.com/office/officeart/2005/8/layout/vProcess5"/>
    <dgm:cxn modelId="{9518BE03-6EE3-094D-A9AB-C7A3FD0CFB20}" type="presParOf" srcId="{C8394031-45B8-C943-A684-B6140787E4E9}" destId="{C7290816-3E5F-EA4C-B663-FFD646525D4E}" srcOrd="6" destOrd="0" presId="urn:microsoft.com/office/officeart/2005/8/layout/vProcess5"/>
    <dgm:cxn modelId="{3A07BEF5-BE29-7D4B-A5EA-6F80F1742D6A}" type="presParOf" srcId="{C8394031-45B8-C943-A684-B6140787E4E9}" destId="{61C561B3-69A2-8E4B-801C-58CC688B03E7}" srcOrd="7" destOrd="0" presId="urn:microsoft.com/office/officeart/2005/8/layout/vProcess5"/>
    <dgm:cxn modelId="{7CFECADA-DA9C-9B44-BD54-4EBAAB7701A9}" type="presParOf" srcId="{C8394031-45B8-C943-A684-B6140787E4E9}" destId="{317F6623-F368-214D-878D-4D9A8A5515B2}" srcOrd="8" destOrd="0" presId="urn:microsoft.com/office/officeart/2005/8/layout/vProcess5"/>
    <dgm:cxn modelId="{38F2F25B-9C44-7E40-8B80-C3EC3A0F01D7}" type="presParOf" srcId="{C8394031-45B8-C943-A684-B6140787E4E9}" destId="{0AEC4263-3F2C-804F-B92C-54C12B0ECD26}" srcOrd="9" destOrd="0" presId="urn:microsoft.com/office/officeart/2005/8/layout/vProcess5"/>
    <dgm:cxn modelId="{ACCF0598-0922-B946-97F5-0F0CCE2BA1D0}" type="presParOf" srcId="{C8394031-45B8-C943-A684-B6140787E4E9}" destId="{233790CA-85A7-3744-9A32-E8615BE78EE8}" srcOrd="10" destOrd="0" presId="urn:microsoft.com/office/officeart/2005/8/layout/vProcess5"/>
    <dgm:cxn modelId="{B525747B-B419-6247-95D7-00CD24995BE9}" type="presParOf" srcId="{C8394031-45B8-C943-A684-B6140787E4E9}" destId="{5F8B2A4D-3236-5B4F-B622-67F6F5788AED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7E8C5E-988E-6D42-93F6-0E00481363A8}" type="doc">
      <dgm:prSet loTypeId="urn:microsoft.com/office/officeart/2005/8/layout/hierarchy2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82257A60-BA02-3543-968B-8F50C6B852FD}">
      <dgm:prSet phldrT="[Text]"/>
      <dgm:spPr/>
      <dgm:t>
        <a:bodyPr/>
        <a:lstStyle/>
        <a:p>
          <a:r>
            <a:rPr lang="en-US" dirty="0" smtClean="0"/>
            <a:t>Right to:</a:t>
          </a:r>
          <a:endParaRPr lang="en-US" dirty="0"/>
        </a:p>
      </dgm:t>
    </dgm:pt>
    <dgm:pt modelId="{9569E3FD-25C4-0643-95E4-005B53ECC8F1}" type="parTrans" cxnId="{97FC9363-F1EB-0446-B302-DC7A2030832C}">
      <dgm:prSet/>
      <dgm:spPr/>
      <dgm:t>
        <a:bodyPr/>
        <a:lstStyle/>
        <a:p>
          <a:endParaRPr lang="en-US"/>
        </a:p>
      </dgm:t>
    </dgm:pt>
    <dgm:pt modelId="{50ECBE22-4744-7F44-BAFB-940B18D39C71}" type="sibTrans" cxnId="{97FC9363-F1EB-0446-B302-DC7A2030832C}">
      <dgm:prSet/>
      <dgm:spPr/>
      <dgm:t>
        <a:bodyPr/>
        <a:lstStyle/>
        <a:p>
          <a:endParaRPr lang="en-US"/>
        </a:p>
      </dgm:t>
    </dgm:pt>
    <dgm:pt modelId="{0A92C6FD-8FCB-B541-BA84-A0763B41F97F}">
      <dgm:prSet phldrT="[Text]" custT="1"/>
      <dgm:spPr/>
      <dgm:t>
        <a:bodyPr/>
        <a:lstStyle/>
        <a:p>
          <a:pPr algn="l"/>
          <a:r>
            <a:rPr lang="en-US" sz="2800" dirty="0" smtClean="0"/>
            <a:t>Information “concise, transparent, intelligible and easily accessible”</a:t>
          </a:r>
          <a:endParaRPr lang="en-US" sz="2800" dirty="0"/>
        </a:p>
      </dgm:t>
    </dgm:pt>
    <dgm:pt modelId="{6983A2F8-8B93-C14A-B894-125B9D5B1084}" type="parTrans" cxnId="{0BB206F3-F61E-F143-BCC8-45EF9FCEFF3C}">
      <dgm:prSet/>
      <dgm:spPr/>
      <dgm:t>
        <a:bodyPr/>
        <a:lstStyle/>
        <a:p>
          <a:endParaRPr lang="en-US"/>
        </a:p>
      </dgm:t>
    </dgm:pt>
    <dgm:pt modelId="{8ADF7C3F-7CF1-4441-8303-D9016AC2E9E1}" type="sibTrans" cxnId="{0BB206F3-F61E-F143-BCC8-45EF9FCEFF3C}">
      <dgm:prSet/>
      <dgm:spPr/>
      <dgm:t>
        <a:bodyPr/>
        <a:lstStyle/>
        <a:p>
          <a:endParaRPr lang="en-US"/>
        </a:p>
      </dgm:t>
    </dgm:pt>
    <dgm:pt modelId="{7B6295C4-0B53-1B4C-91D5-FFC8C19DAB0D}">
      <dgm:prSet phldrT="[Text]" custT="1"/>
      <dgm:spPr/>
      <dgm:t>
        <a:bodyPr/>
        <a:lstStyle/>
        <a:p>
          <a:pPr algn="l"/>
          <a:r>
            <a:rPr lang="en-US" sz="2800" dirty="0" smtClean="0"/>
            <a:t>Make a subject access request</a:t>
          </a:r>
          <a:endParaRPr lang="en-US" sz="2800" dirty="0"/>
        </a:p>
      </dgm:t>
    </dgm:pt>
    <dgm:pt modelId="{DFE39015-B2C7-E642-90EB-77BE5F47523F}" type="parTrans" cxnId="{B4E70237-A634-3E42-A38A-34960A8AF3FE}">
      <dgm:prSet/>
      <dgm:spPr/>
      <dgm:t>
        <a:bodyPr/>
        <a:lstStyle/>
        <a:p>
          <a:endParaRPr lang="en-US"/>
        </a:p>
      </dgm:t>
    </dgm:pt>
    <dgm:pt modelId="{D3FE7850-F10F-1C43-BFD5-597EF0FEE560}" type="sibTrans" cxnId="{B4E70237-A634-3E42-A38A-34960A8AF3FE}">
      <dgm:prSet/>
      <dgm:spPr/>
      <dgm:t>
        <a:bodyPr/>
        <a:lstStyle/>
        <a:p>
          <a:endParaRPr lang="en-US"/>
        </a:p>
      </dgm:t>
    </dgm:pt>
    <dgm:pt modelId="{CC141581-48A2-CB40-A214-DBE7B098ECEA}">
      <dgm:prSet phldrT="[Text]" custT="1"/>
      <dgm:spPr/>
      <dgm:t>
        <a:bodyPr/>
        <a:lstStyle/>
        <a:p>
          <a:pPr algn="l"/>
          <a:r>
            <a:rPr lang="en-US" sz="2800" dirty="0" smtClean="0"/>
            <a:t>Rectification</a:t>
          </a:r>
          <a:endParaRPr lang="en-US" sz="2800" dirty="0"/>
        </a:p>
      </dgm:t>
    </dgm:pt>
    <dgm:pt modelId="{DE2A1AE3-E5FA-F841-8CED-3A7D9062CB8B}" type="parTrans" cxnId="{7476B904-2D6D-044F-9E60-80090DDB4FC4}">
      <dgm:prSet/>
      <dgm:spPr/>
      <dgm:t>
        <a:bodyPr/>
        <a:lstStyle/>
        <a:p>
          <a:endParaRPr lang="en-US"/>
        </a:p>
      </dgm:t>
    </dgm:pt>
    <dgm:pt modelId="{0A6F5FF3-FCB6-7546-A3B3-C0028C9CFD07}" type="sibTrans" cxnId="{7476B904-2D6D-044F-9E60-80090DDB4FC4}">
      <dgm:prSet/>
      <dgm:spPr/>
      <dgm:t>
        <a:bodyPr/>
        <a:lstStyle/>
        <a:p>
          <a:endParaRPr lang="en-US"/>
        </a:p>
      </dgm:t>
    </dgm:pt>
    <dgm:pt modelId="{C04764B5-C633-BC4E-AB6D-764F96FF137C}">
      <dgm:prSet phldrT="[Text]" custT="1"/>
      <dgm:spPr/>
      <dgm:t>
        <a:bodyPr/>
        <a:lstStyle/>
        <a:p>
          <a:pPr algn="l"/>
          <a:r>
            <a:rPr lang="en-US" sz="2800" dirty="0" smtClean="0"/>
            <a:t>Erasure</a:t>
          </a:r>
          <a:endParaRPr lang="en-US" sz="2800" dirty="0"/>
        </a:p>
      </dgm:t>
    </dgm:pt>
    <dgm:pt modelId="{8736362D-61AB-F142-B9D6-FABF2A2160B9}" type="parTrans" cxnId="{1547BAC5-CF5F-2C4D-BB69-A8D9B51EB70F}">
      <dgm:prSet/>
      <dgm:spPr/>
      <dgm:t>
        <a:bodyPr/>
        <a:lstStyle/>
        <a:p>
          <a:endParaRPr lang="en-US"/>
        </a:p>
      </dgm:t>
    </dgm:pt>
    <dgm:pt modelId="{D2A5F9F5-A8DF-2445-B344-1F29350984F8}" type="sibTrans" cxnId="{1547BAC5-CF5F-2C4D-BB69-A8D9B51EB70F}">
      <dgm:prSet/>
      <dgm:spPr/>
      <dgm:t>
        <a:bodyPr/>
        <a:lstStyle/>
        <a:p>
          <a:endParaRPr lang="en-US"/>
        </a:p>
      </dgm:t>
    </dgm:pt>
    <dgm:pt modelId="{B24361FE-0ABA-9C4E-8200-13AE13CF144B}">
      <dgm:prSet phldrT="[Text]" custT="1"/>
      <dgm:spPr/>
      <dgm:t>
        <a:bodyPr/>
        <a:lstStyle/>
        <a:p>
          <a:pPr algn="l"/>
          <a:r>
            <a:rPr lang="en-US" sz="2800" dirty="0" smtClean="0"/>
            <a:t>Data portability</a:t>
          </a:r>
          <a:endParaRPr lang="en-US" sz="2800" dirty="0"/>
        </a:p>
      </dgm:t>
    </dgm:pt>
    <dgm:pt modelId="{A79492BF-7F59-6F45-83DB-9EE5AA211A46}" type="parTrans" cxnId="{F4C164F7-53BD-134B-80E9-3027517BEA70}">
      <dgm:prSet/>
      <dgm:spPr/>
      <dgm:t>
        <a:bodyPr/>
        <a:lstStyle/>
        <a:p>
          <a:endParaRPr lang="en-US"/>
        </a:p>
      </dgm:t>
    </dgm:pt>
    <dgm:pt modelId="{C11F211D-2C7D-574E-B52E-BE6214AA8A39}" type="sibTrans" cxnId="{F4C164F7-53BD-134B-80E9-3027517BEA70}">
      <dgm:prSet/>
      <dgm:spPr/>
      <dgm:t>
        <a:bodyPr/>
        <a:lstStyle/>
        <a:p>
          <a:endParaRPr lang="en-US"/>
        </a:p>
      </dgm:t>
    </dgm:pt>
    <dgm:pt modelId="{601BB3B8-A7FF-844D-B41E-80DED90165DC}">
      <dgm:prSet phldrT="[Text]" custT="1"/>
      <dgm:spPr/>
      <dgm:t>
        <a:bodyPr/>
        <a:lstStyle/>
        <a:p>
          <a:pPr algn="l"/>
          <a:r>
            <a:rPr lang="en-US" sz="2800" dirty="0" smtClean="0"/>
            <a:t>Restrict access</a:t>
          </a:r>
          <a:endParaRPr lang="en-US" sz="2800" dirty="0"/>
        </a:p>
      </dgm:t>
    </dgm:pt>
    <dgm:pt modelId="{E65170EE-0189-E44C-8EF1-8B0050C9876F}" type="parTrans" cxnId="{0330030E-0D19-8D4E-9A98-6A885145B4AA}">
      <dgm:prSet/>
      <dgm:spPr/>
      <dgm:t>
        <a:bodyPr/>
        <a:lstStyle/>
        <a:p>
          <a:endParaRPr lang="en-US"/>
        </a:p>
      </dgm:t>
    </dgm:pt>
    <dgm:pt modelId="{FC125336-915A-2F4C-B76D-91A21968622F}" type="sibTrans" cxnId="{0330030E-0D19-8D4E-9A98-6A885145B4AA}">
      <dgm:prSet/>
      <dgm:spPr/>
      <dgm:t>
        <a:bodyPr/>
        <a:lstStyle/>
        <a:p>
          <a:endParaRPr lang="en-US"/>
        </a:p>
      </dgm:t>
    </dgm:pt>
    <dgm:pt modelId="{7AABE9FF-4A13-3D40-A995-9BD4478D520B}">
      <dgm:prSet phldrT="[Text]" custT="1"/>
      <dgm:spPr/>
      <dgm:t>
        <a:bodyPr/>
        <a:lstStyle/>
        <a:p>
          <a:pPr algn="l"/>
          <a:r>
            <a:rPr lang="en-US" sz="2800" dirty="0" smtClean="0"/>
            <a:t>Object to processing</a:t>
          </a:r>
          <a:endParaRPr lang="en-US" sz="2800" dirty="0"/>
        </a:p>
      </dgm:t>
    </dgm:pt>
    <dgm:pt modelId="{EFF6493D-E631-E24D-B322-5BBB2A85C605}" type="parTrans" cxnId="{EB37CC8C-8C44-7149-97E2-D6CC5D1AFF1C}">
      <dgm:prSet/>
      <dgm:spPr/>
      <dgm:t>
        <a:bodyPr/>
        <a:lstStyle/>
        <a:p>
          <a:endParaRPr lang="en-US"/>
        </a:p>
      </dgm:t>
    </dgm:pt>
    <dgm:pt modelId="{1251DF70-8D4D-6447-9793-F39F92BCC11A}" type="sibTrans" cxnId="{EB37CC8C-8C44-7149-97E2-D6CC5D1AFF1C}">
      <dgm:prSet/>
      <dgm:spPr/>
      <dgm:t>
        <a:bodyPr/>
        <a:lstStyle/>
        <a:p>
          <a:endParaRPr lang="en-US"/>
        </a:p>
      </dgm:t>
    </dgm:pt>
    <dgm:pt modelId="{9628FBE8-6D32-5D4B-B332-9BC473451B9D}">
      <dgm:prSet phldrT="[Text]" custT="1"/>
      <dgm:spPr/>
      <dgm:t>
        <a:bodyPr/>
        <a:lstStyle/>
        <a:p>
          <a:pPr algn="l"/>
          <a:r>
            <a:rPr lang="en-US" sz="2800" dirty="0" smtClean="0"/>
            <a:t>Be inform who receives data</a:t>
          </a:r>
          <a:endParaRPr lang="en-US" sz="2800" dirty="0"/>
        </a:p>
      </dgm:t>
    </dgm:pt>
    <dgm:pt modelId="{23C429F2-B156-6841-8D2A-DAB45123DD9B}" type="parTrans" cxnId="{C78C524D-7E06-9D4D-9138-B583B9DDD314}">
      <dgm:prSet/>
      <dgm:spPr/>
      <dgm:t>
        <a:bodyPr/>
        <a:lstStyle/>
        <a:p>
          <a:endParaRPr lang="en-US"/>
        </a:p>
      </dgm:t>
    </dgm:pt>
    <dgm:pt modelId="{AE8A474E-C55A-B043-B944-8A6E98CC1089}" type="sibTrans" cxnId="{C78C524D-7E06-9D4D-9138-B583B9DDD314}">
      <dgm:prSet/>
      <dgm:spPr/>
      <dgm:t>
        <a:bodyPr/>
        <a:lstStyle/>
        <a:p>
          <a:endParaRPr lang="en-US"/>
        </a:p>
      </dgm:t>
    </dgm:pt>
    <dgm:pt modelId="{5540B13C-FF8E-0748-A10F-8E8299E5C6B5}" type="pres">
      <dgm:prSet presAssocID="{C17E8C5E-988E-6D42-93F6-0E00481363A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CBFCE10-55DD-2C43-A487-06244152B465}" type="pres">
      <dgm:prSet presAssocID="{82257A60-BA02-3543-968B-8F50C6B852FD}" presName="root1" presStyleCnt="0"/>
      <dgm:spPr/>
    </dgm:pt>
    <dgm:pt modelId="{191F6E54-F949-4448-A255-4C60154416C0}" type="pres">
      <dgm:prSet presAssocID="{82257A60-BA02-3543-968B-8F50C6B852FD}" presName="LevelOneTextNode" presStyleLbl="node0" presStyleIdx="0" presStyleCnt="1">
        <dgm:presLayoutVars>
          <dgm:chPref val="3"/>
        </dgm:presLayoutVars>
      </dgm:prSet>
      <dgm:spPr/>
    </dgm:pt>
    <dgm:pt modelId="{1EB1CE67-8D79-A64E-9558-C2254B0B4D02}" type="pres">
      <dgm:prSet presAssocID="{82257A60-BA02-3543-968B-8F50C6B852FD}" presName="level2hierChild" presStyleCnt="0"/>
      <dgm:spPr/>
    </dgm:pt>
    <dgm:pt modelId="{C85CFA1B-159F-684B-9F46-5BFB52B12A64}" type="pres">
      <dgm:prSet presAssocID="{6983A2F8-8B93-C14A-B894-125B9D5B1084}" presName="conn2-1" presStyleLbl="parChTrans1D2" presStyleIdx="0" presStyleCnt="8"/>
      <dgm:spPr/>
    </dgm:pt>
    <dgm:pt modelId="{BB0F3FA1-3834-EB42-A8D4-A87F7B8C99CF}" type="pres">
      <dgm:prSet presAssocID="{6983A2F8-8B93-C14A-B894-125B9D5B1084}" presName="connTx" presStyleLbl="parChTrans1D2" presStyleIdx="0" presStyleCnt="8"/>
      <dgm:spPr/>
    </dgm:pt>
    <dgm:pt modelId="{0E1A8AE8-B44A-614B-AC4E-D45E8953986E}" type="pres">
      <dgm:prSet presAssocID="{0A92C6FD-8FCB-B541-BA84-A0763B41F97F}" presName="root2" presStyleCnt="0"/>
      <dgm:spPr/>
    </dgm:pt>
    <dgm:pt modelId="{37CFA982-474D-9A48-A19D-1A20EE345CD9}" type="pres">
      <dgm:prSet presAssocID="{0A92C6FD-8FCB-B541-BA84-A0763B41F97F}" presName="LevelTwoTextNode" presStyleLbl="node2" presStyleIdx="0" presStyleCnt="8" custScaleX="499584" custScaleY="13968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010092A-D462-9C47-BB51-1C1B4A299B54}" type="pres">
      <dgm:prSet presAssocID="{0A92C6FD-8FCB-B541-BA84-A0763B41F97F}" presName="level3hierChild" presStyleCnt="0"/>
      <dgm:spPr/>
    </dgm:pt>
    <dgm:pt modelId="{D54E9632-DEDA-B543-BEE5-E019F907BD4A}" type="pres">
      <dgm:prSet presAssocID="{DFE39015-B2C7-E642-90EB-77BE5F47523F}" presName="conn2-1" presStyleLbl="parChTrans1D2" presStyleIdx="1" presStyleCnt="8"/>
      <dgm:spPr/>
    </dgm:pt>
    <dgm:pt modelId="{9B07A6B5-8AC4-5545-81DE-DC60EE7DAE72}" type="pres">
      <dgm:prSet presAssocID="{DFE39015-B2C7-E642-90EB-77BE5F47523F}" presName="connTx" presStyleLbl="parChTrans1D2" presStyleIdx="1" presStyleCnt="8"/>
      <dgm:spPr/>
    </dgm:pt>
    <dgm:pt modelId="{2AF2833C-A52C-5241-9AA7-8897B663B99B}" type="pres">
      <dgm:prSet presAssocID="{7B6295C4-0B53-1B4C-91D5-FFC8C19DAB0D}" presName="root2" presStyleCnt="0"/>
      <dgm:spPr/>
    </dgm:pt>
    <dgm:pt modelId="{834D8B2D-2752-F54D-ADF9-6B721AB01150}" type="pres">
      <dgm:prSet presAssocID="{7B6295C4-0B53-1B4C-91D5-FFC8C19DAB0D}" presName="LevelTwoTextNode" presStyleLbl="node2" presStyleIdx="1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3484FA-666E-6647-8BA7-C3E9D410C7B0}" type="pres">
      <dgm:prSet presAssocID="{7B6295C4-0B53-1B4C-91D5-FFC8C19DAB0D}" presName="level3hierChild" presStyleCnt="0"/>
      <dgm:spPr/>
    </dgm:pt>
    <dgm:pt modelId="{B970EE0B-1498-7746-B1FE-FC469C2039EA}" type="pres">
      <dgm:prSet presAssocID="{DE2A1AE3-E5FA-F841-8CED-3A7D9062CB8B}" presName="conn2-1" presStyleLbl="parChTrans1D2" presStyleIdx="2" presStyleCnt="8"/>
      <dgm:spPr/>
    </dgm:pt>
    <dgm:pt modelId="{6170A76B-3296-F843-80D0-41DA75F515C9}" type="pres">
      <dgm:prSet presAssocID="{DE2A1AE3-E5FA-F841-8CED-3A7D9062CB8B}" presName="connTx" presStyleLbl="parChTrans1D2" presStyleIdx="2" presStyleCnt="8"/>
      <dgm:spPr/>
    </dgm:pt>
    <dgm:pt modelId="{4AB3E3FA-95A9-9D4D-BFB0-E5C86DACAFDA}" type="pres">
      <dgm:prSet presAssocID="{CC141581-48A2-CB40-A214-DBE7B098ECEA}" presName="root2" presStyleCnt="0"/>
      <dgm:spPr/>
    </dgm:pt>
    <dgm:pt modelId="{8946762D-CB1D-CF45-BA9A-F673B5F6B789}" type="pres">
      <dgm:prSet presAssocID="{CC141581-48A2-CB40-A214-DBE7B098ECEA}" presName="LevelTwoTextNode" presStyleLbl="node2" presStyleIdx="2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A139B2E-3029-EB4C-8D9A-B44C6B94782E}" type="pres">
      <dgm:prSet presAssocID="{CC141581-48A2-CB40-A214-DBE7B098ECEA}" presName="level3hierChild" presStyleCnt="0"/>
      <dgm:spPr/>
    </dgm:pt>
    <dgm:pt modelId="{7804EEB4-3189-274B-AABC-986C2D7657AD}" type="pres">
      <dgm:prSet presAssocID="{8736362D-61AB-F142-B9D6-FABF2A2160B9}" presName="conn2-1" presStyleLbl="parChTrans1D2" presStyleIdx="3" presStyleCnt="8"/>
      <dgm:spPr/>
    </dgm:pt>
    <dgm:pt modelId="{AC15510B-C470-574B-ADCF-C55CCBCA6CFB}" type="pres">
      <dgm:prSet presAssocID="{8736362D-61AB-F142-B9D6-FABF2A2160B9}" presName="connTx" presStyleLbl="parChTrans1D2" presStyleIdx="3" presStyleCnt="8"/>
      <dgm:spPr/>
    </dgm:pt>
    <dgm:pt modelId="{CED9EDC4-A46B-E245-B29B-675822529F72}" type="pres">
      <dgm:prSet presAssocID="{C04764B5-C633-BC4E-AB6D-764F96FF137C}" presName="root2" presStyleCnt="0"/>
      <dgm:spPr/>
    </dgm:pt>
    <dgm:pt modelId="{567C0660-A0CC-004F-8A60-5E3E09CF55ED}" type="pres">
      <dgm:prSet presAssocID="{C04764B5-C633-BC4E-AB6D-764F96FF137C}" presName="LevelTwoTextNode" presStyleLbl="node2" presStyleIdx="3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8B99F06-144B-A146-830F-9850C3C3C211}" type="pres">
      <dgm:prSet presAssocID="{C04764B5-C633-BC4E-AB6D-764F96FF137C}" presName="level3hierChild" presStyleCnt="0"/>
      <dgm:spPr/>
    </dgm:pt>
    <dgm:pt modelId="{524E7653-27FA-654C-A24F-84176289D1FE}" type="pres">
      <dgm:prSet presAssocID="{A79492BF-7F59-6F45-83DB-9EE5AA211A46}" presName="conn2-1" presStyleLbl="parChTrans1D2" presStyleIdx="4" presStyleCnt="8"/>
      <dgm:spPr/>
    </dgm:pt>
    <dgm:pt modelId="{DC8B779D-AA1B-CE48-9991-F438FB794CE1}" type="pres">
      <dgm:prSet presAssocID="{A79492BF-7F59-6F45-83DB-9EE5AA211A46}" presName="connTx" presStyleLbl="parChTrans1D2" presStyleIdx="4" presStyleCnt="8"/>
      <dgm:spPr/>
    </dgm:pt>
    <dgm:pt modelId="{3DCC4300-B22E-7446-95D1-E08E46ADD5C2}" type="pres">
      <dgm:prSet presAssocID="{B24361FE-0ABA-9C4E-8200-13AE13CF144B}" presName="root2" presStyleCnt="0"/>
      <dgm:spPr/>
    </dgm:pt>
    <dgm:pt modelId="{6D644D57-BF16-2044-B874-CFAFB19D0ED7}" type="pres">
      <dgm:prSet presAssocID="{B24361FE-0ABA-9C4E-8200-13AE13CF144B}" presName="LevelTwoTextNode" presStyleLbl="node2" presStyleIdx="4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C30F6A-B0C7-2447-BFB5-A3A79DCA1DCE}" type="pres">
      <dgm:prSet presAssocID="{B24361FE-0ABA-9C4E-8200-13AE13CF144B}" presName="level3hierChild" presStyleCnt="0"/>
      <dgm:spPr/>
    </dgm:pt>
    <dgm:pt modelId="{91BE44B5-31FA-8441-A67E-965E80CA92E2}" type="pres">
      <dgm:prSet presAssocID="{E65170EE-0189-E44C-8EF1-8B0050C9876F}" presName="conn2-1" presStyleLbl="parChTrans1D2" presStyleIdx="5" presStyleCnt="8"/>
      <dgm:spPr/>
    </dgm:pt>
    <dgm:pt modelId="{A7F7A0D5-EE3A-7C4D-844B-4130D309F90D}" type="pres">
      <dgm:prSet presAssocID="{E65170EE-0189-E44C-8EF1-8B0050C9876F}" presName="connTx" presStyleLbl="parChTrans1D2" presStyleIdx="5" presStyleCnt="8"/>
      <dgm:spPr/>
    </dgm:pt>
    <dgm:pt modelId="{78027B88-8EFD-704F-A2F2-A835E2E57A5B}" type="pres">
      <dgm:prSet presAssocID="{601BB3B8-A7FF-844D-B41E-80DED90165DC}" presName="root2" presStyleCnt="0"/>
      <dgm:spPr/>
    </dgm:pt>
    <dgm:pt modelId="{B1F702DC-DBAE-BA48-8B25-8D1A1C6D3107}" type="pres">
      <dgm:prSet presAssocID="{601BB3B8-A7FF-844D-B41E-80DED90165DC}" presName="LevelTwoTextNode" presStyleLbl="node2" presStyleIdx="5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AAA4D76-F64E-CD40-BF41-EA32C81D950E}" type="pres">
      <dgm:prSet presAssocID="{601BB3B8-A7FF-844D-B41E-80DED90165DC}" presName="level3hierChild" presStyleCnt="0"/>
      <dgm:spPr/>
    </dgm:pt>
    <dgm:pt modelId="{C31CBF6A-4F2F-7241-8B69-42068685F47A}" type="pres">
      <dgm:prSet presAssocID="{EFF6493D-E631-E24D-B322-5BBB2A85C605}" presName="conn2-1" presStyleLbl="parChTrans1D2" presStyleIdx="6" presStyleCnt="8"/>
      <dgm:spPr/>
    </dgm:pt>
    <dgm:pt modelId="{6186A009-F339-5B43-850B-ACF6C4922B01}" type="pres">
      <dgm:prSet presAssocID="{EFF6493D-E631-E24D-B322-5BBB2A85C605}" presName="connTx" presStyleLbl="parChTrans1D2" presStyleIdx="6" presStyleCnt="8"/>
      <dgm:spPr/>
    </dgm:pt>
    <dgm:pt modelId="{FD5C41E5-D731-1D40-B286-C01C695D68E8}" type="pres">
      <dgm:prSet presAssocID="{7AABE9FF-4A13-3D40-A995-9BD4478D520B}" presName="root2" presStyleCnt="0"/>
      <dgm:spPr/>
    </dgm:pt>
    <dgm:pt modelId="{C8B3F922-B8FB-9345-800A-1A3A9288A964}" type="pres">
      <dgm:prSet presAssocID="{7AABE9FF-4A13-3D40-A995-9BD4478D520B}" presName="LevelTwoTextNode" presStyleLbl="node2" presStyleIdx="6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0AAFC10-FD31-7C45-82D0-46A1D475B486}" type="pres">
      <dgm:prSet presAssocID="{7AABE9FF-4A13-3D40-A995-9BD4478D520B}" presName="level3hierChild" presStyleCnt="0"/>
      <dgm:spPr/>
    </dgm:pt>
    <dgm:pt modelId="{D79BED95-9093-B040-A37C-88719E4878A5}" type="pres">
      <dgm:prSet presAssocID="{23C429F2-B156-6841-8D2A-DAB45123DD9B}" presName="conn2-1" presStyleLbl="parChTrans1D2" presStyleIdx="7" presStyleCnt="8"/>
      <dgm:spPr/>
    </dgm:pt>
    <dgm:pt modelId="{77D2D9D9-676F-BD49-BC25-1AEEAFB5A65A}" type="pres">
      <dgm:prSet presAssocID="{23C429F2-B156-6841-8D2A-DAB45123DD9B}" presName="connTx" presStyleLbl="parChTrans1D2" presStyleIdx="7" presStyleCnt="8"/>
      <dgm:spPr/>
    </dgm:pt>
    <dgm:pt modelId="{420EC6BA-944F-B84A-A3A5-E940E7328ADA}" type="pres">
      <dgm:prSet presAssocID="{9628FBE8-6D32-5D4B-B332-9BC473451B9D}" presName="root2" presStyleCnt="0"/>
      <dgm:spPr/>
    </dgm:pt>
    <dgm:pt modelId="{C409A503-C1ED-0444-8CFF-B42376E5A01D}" type="pres">
      <dgm:prSet presAssocID="{9628FBE8-6D32-5D4B-B332-9BC473451B9D}" presName="LevelTwoTextNode" presStyleLbl="node2" presStyleIdx="7" presStyleCnt="8" custScaleX="4995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912D8F1-5D4A-F14D-93AE-AD435CB0B6DF}" type="pres">
      <dgm:prSet presAssocID="{9628FBE8-6D32-5D4B-B332-9BC473451B9D}" presName="level3hierChild" presStyleCnt="0"/>
      <dgm:spPr/>
    </dgm:pt>
  </dgm:ptLst>
  <dgm:cxnLst>
    <dgm:cxn modelId="{799CF721-3BC2-834F-98D6-E3AC941AADFD}" type="presOf" srcId="{CC141581-48A2-CB40-A214-DBE7B098ECEA}" destId="{8946762D-CB1D-CF45-BA9A-F673B5F6B789}" srcOrd="0" destOrd="0" presId="urn:microsoft.com/office/officeart/2005/8/layout/hierarchy2"/>
    <dgm:cxn modelId="{B01472B4-EC75-F646-9D96-2EAEC7275843}" type="presOf" srcId="{8736362D-61AB-F142-B9D6-FABF2A2160B9}" destId="{AC15510B-C470-574B-ADCF-C55CCBCA6CFB}" srcOrd="1" destOrd="0" presId="urn:microsoft.com/office/officeart/2005/8/layout/hierarchy2"/>
    <dgm:cxn modelId="{ED50B666-14EC-514E-874D-C2195D25D1E9}" type="presOf" srcId="{DE2A1AE3-E5FA-F841-8CED-3A7D9062CB8B}" destId="{6170A76B-3296-F843-80D0-41DA75F515C9}" srcOrd="1" destOrd="0" presId="urn:microsoft.com/office/officeart/2005/8/layout/hierarchy2"/>
    <dgm:cxn modelId="{EB37CC8C-8C44-7149-97E2-D6CC5D1AFF1C}" srcId="{82257A60-BA02-3543-968B-8F50C6B852FD}" destId="{7AABE9FF-4A13-3D40-A995-9BD4478D520B}" srcOrd="6" destOrd="0" parTransId="{EFF6493D-E631-E24D-B322-5BBB2A85C605}" sibTransId="{1251DF70-8D4D-6447-9793-F39F92BCC11A}"/>
    <dgm:cxn modelId="{7C96343F-6706-4B40-B348-E50DD1DF6A5F}" type="presOf" srcId="{E65170EE-0189-E44C-8EF1-8B0050C9876F}" destId="{A7F7A0D5-EE3A-7C4D-844B-4130D309F90D}" srcOrd="1" destOrd="0" presId="urn:microsoft.com/office/officeart/2005/8/layout/hierarchy2"/>
    <dgm:cxn modelId="{F473352B-02FC-8E4E-85B6-71F75C0EC725}" type="presOf" srcId="{7AABE9FF-4A13-3D40-A995-9BD4478D520B}" destId="{C8B3F922-B8FB-9345-800A-1A3A9288A964}" srcOrd="0" destOrd="0" presId="urn:microsoft.com/office/officeart/2005/8/layout/hierarchy2"/>
    <dgm:cxn modelId="{C78C524D-7E06-9D4D-9138-B583B9DDD314}" srcId="{82257A60-BA02-3543-968B-8F50C6B852FD}" destId="{9628FBE8-6D32-5D4B-B332-9BC473451B9D}" srcOrd="7" destOrd="0" parTransId="{23C429F2-B156-6841-8D2A-DAB45123DD9B}" sibTransId="{AE8A474E-C55A-B043-B944-8A6E98CC1089}"/>
    <dgm:cxn modelId="{ACCFA9D8-E30A-6F46-A626-7E3DE0392411}" type="presOf" srcId="{C17E8C5E-988E-6D42-93F6-0E00481363A8}" destId="{5540B13C-FF8E-0748-A10F-8E8299E5C6B5}" srcOrd="0" destOrd="0" presId="urn:microsoft.com/office/officeart/2005/8/layout/hierarchy2"/>
    <dgm:cxn modelId="{2E8C7707-4A2D-EC4D-A140-4E4CE10C1610}" type="presOf" srcId="{0A92C6FD-8FCB-B541-BA84-A0763B41F97F}" destId="{37CFA982-474D-9A48-A19D-1A20EE345CD9}" srcOrd="0" destOrd="0" presId="urn:microsoft.com/office/officeart/2005/8/layout/hierarchy2"/>
    <dgm:cxn modelId="{CA7E75CF-6B55-C64C-A410-E636F7CA738B}" type="presOf" srcId="{DE2A1AE3-E5FA-F841-8CED-3A7D9062CB8B}" destId="{B970EE0B-1498-7746-B1FE-FC469C2039EA}" srcOrd="0" destOrd="0" presId="urn:microsoft.com/office/officeart/2005/8/layout/hierarchy2"/>
    <dgm:cxn modelId="{0330030E-0D19-8D4E-9A98-6A885145B4AA}" srcId="{82257A60-BA02-3543-968B-8F50C6B852FD}" destId="{601BB3B8-A7FF-844D-B41E-80DED90165DC}" srcOrd="5" destOrd="0" parTransId="{E65170EE-0189-E44C-8EF1-8B0050C9876F}" sibTransId="{FC125336-915A-2F4C-B76D-91A21968622F}"/>
    <dgm:cxn modelId="{18735742-357F-CF4F-AE10-03726300C548}" type="presOf" srcId="{6983A2F8-8B93-C14A-B894-125B9D5B1084}" destId="{C85CFA1B-159F-684B-9F46-5BFB52B12A64}" srcOrd="0" destOrd="0" presId="urn:microsoft.com/office/officeart/2005/8/layout/hierarchy2"/>
    <dgm:cxn modelId="{F80A3F40-F1FF-7A48-BCFE-03DD54E156B4}" type="presOf" srcId="{E65170EE-0189-E44C-8EF1-8B0050C9876F}" destId="{91BE44B5-31FA-8441-A67E-965E80CA92E2}" srcOrd="0" destOrd="0" presId="urn:microsoft.com/office/officeart/2005/8/layout/hierarchy2"/>
    <dgm:cxn modelId="{C713526A-C538-1849-948E-BDA8E3EBFD4B}" type="presOf" srcId="{23C429F2-B156-6841-8D2A-DAB45123DD9B}" destId="{D79BED95-9093-B040-A37C-88719E4878A5}" srcOrd="0" destOrd="0" presId="urn:microsoft.com/office/officeart/2005/8/layout/hierarchy2"/>
    <dgm:cxn modelId="{29C23197-4E94-9043-BDC9-3C9441510E50}" type="presOf" srcId="{82257A60-BA02-3543-968B-8F50C6B852FD}" destId="{191F6E54-F949-4448-A255-4C60154416C0}" srcOrd="0" destOrd="0" presId="urn:microsoft.com/office/officeart/2005/8/layout/hierarchy2"/>
    <dgm:cxn modelId="{D2B9242C-DF4B-FA4C-A120-EC709EC97745}" type="presOf" srcId="{8736362D-61AB-F142-B9D6-FABF2A2160B9}" destId="{7804EEB4-3189-274B-AABC-986C2D7657AD}" srcOrd="0" destOrd="0" presId="urn:microsoft.com/office/officeart/2005/8/layout/hierarchy2"/>
    <dgm:cxn modelId="{4355B62E-F3CC-7A4B-B187-3736E307D2EA}" type="presOf" srcId="{601BB3B8-A7FF-844D-B41E-80DED90165DC}" destId="{B1F702DC-DBAE-BA48-8B25-8D1A1C6D3107}" srcOrd="0" destOrd="0" presId="urn:microsoft.com/office/officeart/2005/8/layout/hierarchy2"/>
    <dgm:cxn modelId="{A444CAB0-EB04-9647-A850-782A693AA85E}" type="presOf" srcId="{6983A2F8-8B93-C14A-B894-125B9D5B1084}" destId="{BB0F3FA1-3834-EB42-A8D4-A87F7B8C99CF}" srcOrd="1" destOrd="0" presId="urn:microsoft.com/office/officeart/2005/8/layout/hierarchy2"/>
    <dgm:cxn modelId="{E213D008-A828-DA42-990C-D29343B53D7A}" type="presOf" srcId="{DFE39015-B2C7-E642-90EB-77BE5F47523F}" destId="{9B07A6B5-8AC4-5545-81DE-DC60EE7DAE72}" srcOrd="1" destOrd="0" presId="urn:microsoft.com/office/officeart/2005/8/layout/hierarchy2"/>
    <dgm:cxn modelId="{F93B8A09-41FF-E645-A8DD-3694FACC96D2}" type="presOf" srcId="{A79492BF-7F59-6F45-83DB-9EE5AA211A46}" destId="{524E7653-27FA-654C-A24F-84176289D1FE}" srcOrd="0" destOrd="0" presId="urn:microsoft.com/office/officeart/2005/8/layout/hierarchy2"/>
    <dgm:cxn modelId="{B2196035-C759-844A-8ED5-10EBC21C26A9}" type="presOf" srcId="{23C429F2-B156-6841-8D2A-DAB45123DD9B}" destId="{77D2D9D9-676F-BD49-BC25-1AEEAFB5A65A}" srcOrd="1" destOrd="0" presId="urn:microsoft.com/office/officeart/2005/8/layout/hierarchy2"/>
    <dgm:cxn modelId="{7476B904-2D6D-044F-9E60-80090DDB4FC4}" srcId="{82257A60-BA02-3543-968B-8F50C6B852FD}" destId="{CC141581-48A2-CB40-A214-DBE7B098ECEA}" srcOrd="2" destOrd="0" parTransId="{DE2A1AE3-E5FA-F841-8CED-3A7D9062CB8B}" sibTransId="{0A6F5FF3-FCB6-7546-A3B3-C0028C9CFD07}"/>
    <dgm:cxn modelId="{F4C164F7-53BD-134B-80E9-3027517BEA70}" srcId="{82257A60-BA02-3543-968B-8F50C6B852FD}" destId="{B24361FE-0ABA-9C4E-8200-13AE13CF144B}" srcOrd="4" destOrd="0" parTransId="{A79492BF-7F59-6F45-83DB-9EE5AA211A46}" sibTransId="{C11F211D-2C7D-574E-B52E-BE6214AA8A39}"/>
    <dgm:cxn modelId="{F3C6A115-6B80-5D40-80A1-F68AF1CF335A}" type="presOf" srcId="{9628FBE8-6D32-5D4B-B332-9BC473451B9D}" destId="{C409A503-C1ED-0444-8CFF-B42376E5A01D}" srcOrd="0" destOrd="0" presId="urn:microsoft.com/office/officeart/2005/8/layout/hierarchy2"/>
    <dgm:cxn modelId="{74A84282-5595-C447-BF92-C4E49A3B91A4}" type="presOf" srcId="{EFF6493D-E631-E24D-B322-5BBB2A85C605}" destId="{6186A009-F339-5B43-850B-ACF6C4922B01}" srcOrd="1" destOrd="0" presId="urn:microsoft.com/office/officeart/2005/8/layout/hierarchy2"/>
    <dgm:cxn modelId="{B4E70237-A634-3E42-A38A-34960A8AF3FE}" srcId="{82257A60-BA02-3543-968B-8F50C6B852FD}" destId="{7B6295C4-0B53-1B4C-91D5-FFC8C19DAB0D}" srcOrd="1" destOrd="0" parTransId="{DFE39015-B2C7-E642-90EB-77BE5F47523F}" sibTransId="{D3FE7850-F10F-1C43-BFD5-597EF0FEE560}"/>
    <dgm:cxn modelId="{087D1CC4-E9F2-1146-90FA-F37B39A77BB9}" type="presOf" srcId="{DFE39015-B2C7-E642-90EB-77BE5F47523F}" destId="{D54E9632-DEDA-B543-BEE5-E019F907BD4A}" srcOrd="0" destOrd="0" presId="urn:microsoft.com/office/officeart/2005/8/layout/hierarchy2"/>
    <dgm:cxn modelId="{1D7D97F7-0E72-DD47-BD7C-83201BF2B3BB}" type="presOf" srcId="{7B6295C4-0B53-1B4C-91D5-FFC8C19DAB0D}" destId="{834D8B2D-2752-F54D-ADF9-6B721AB01150}" srcOrd="0" destOrd="0" presId="urn:microsoft.com/office/officeart/2005/8/layout/hierarchy2"/>
    <dgm:cxn modelId="{21CF9D1B-1EB8-D549-9FF1-28B16DD2314E}" type="presOf" srcId="{A79492BF-7F59-6F45-83DB-9EE5AA211A46}" destId="{DC8B779D-AA1B-CE48-9991-F438FB794CE1}" srcOrd="1" destOrd="0" presId="urn:microsoft.com/office/officeart/2005/8/layout/hierarchy2"/>
    <dgm:cxn modelId="{5BDEB9C9-7AB2-B842-B0DA-6EB5FC516737}" type="presOf" srcId="{EFF6493D-E631-E24D-B322-5BBB2A85C605}" destId="{C31CBF6A-4F2F-7241-8B69-42068685F47A}" srcOrd="0" destOrd="0" presId="urn:microsoft.com/office/officeart/2005/8/layout/hierarchy2"/>
    <dgm:cxn modelId="{1547BAC5-CF5F-2C4D-BB69-A8D9B51EB70F}" srcId="{82257A60-BA02-3543-968B-8F50C6B852FD}" destId="{C04764B5-C633-BC4E-AB6D-764F96FF137C}" srcOrd="3" destOrd="0" parTransId="{8736362D-61AB-F142-B9D6-FABF2A2160B9}" sibTransId="{D2A5F9F5-A8DF-2445-B344-1F29350984F8}"/>
    <dgm:cxn modelId="{97FC9363-F1EB-0446-B302-DC7A2030832C}" srcId="{C17E8C5E-988E-6D42-93F6-0E00481363A8}" destId="{82257A60-BA02-3543-968B-8F50C6B852FD}" srcOrd="0" destOrd="0" parTransId="{9569E3FD-25C4-0643-95E4-005B53ECC8F1}" sibTransId="{50ECBE22-4744-7F44-BAFB-940B18D39C71}"/>
    <dgm:cxn modelId="{0BB206F3-F61E-F143-BCC8-45EF9FCEFF3C}" srcId="{82257A60-BA02-3543-968B-8F50C6B852FD}" destId="{0A92C6FD-8FCB-B541-BA84-A0763B41F97F}" srcOrd="0" destOrd="0" parTransId="{6983A2F8-8B93-C14A-B894-125B9D5B1084}" sibTransId="{8ADF7C3F-7CF1-4441-8303-D9016AC2E9E1}"/>
    <dgm:cxn modelId="{A4887C24-07E8-524A-B17F-37F69B649C1F}" type="presOf" srcId="{B24361FE-0ABA-9C4E-8200-13AE13CF144B}" destId="{6D644D57-BF16-2044-B874-CFAFB19D0ED7}" srcOrd="0" destOrd="0" presId="urn:microsoft.com/office/officeart/2005/8/layout/hierarchy2"/>
    <dgm:cxn modelId="{25E91107-6BB0-E14B-AD6B-CA26ACEF8FD7}" type="presOf" srcId="{C04764B5-C633-BC4E-AB6D-764F96FF137C}" destId="{567C0660-A0CC-004F-8A60-5E3E09CF55ED}" srcOrd="0" destOrd="0" presId="urn:microsoft.com/office/officeart/2005/8/layout/hierarchy2"/>
    <dgm:cxn modelId="{2F5AAA22-A490-6446-83E9-B711F2F78EB6}" type="presParOf" srcId="{5540B13C-FF8E-0748-A10F-8E8299E5C6B5}" destId="{3CBFCE10-55DD-2C43-A487-06244152B465}" srcOrd="0" destOrd="0" presId="urn:microsoft.com/office/officeart/2005/8/layout/hierarchy2"/>
    <dgm:cxn modelId="{84B95D60-B307-DA47-9DB7-9220E3289ACA}" type="presParOf" srcId="{3CBFCE10-55DD-2C43-A487-06244152B465}" destId="{191F6E54-F949-4448-A255-4C60154416C0}" srcOrd="0" destOrd="0" presId="urn:microsoft.com/office/officeart/2005/8/layout/hierarchy2"/>
    <dgm:cxn modelId="{F9E1DE38-C025-AA4B-B109-0D4EED700C2F}" type="presParOf" srcId="{3CBFCE10-55DD-2C43-A487-06244152B465}" destId="{1EB1CE67-8D79-A64E-9558-C2254B0B4D02}" srcOrd="1" destOrd="0" presId="urn:microsoft.com/office/officeart/2005/8/layout/hierarchy2"/>
    <dgm:cxn modelId="{B494EB3E-8FCA-2A43-B85B-88327EFA0F9D}" type="presParOf" srcId="{1EB1CE67-8D79-A64E-9558-C2254B0B4D02}" destId="{C85CFA1B-159F-684B-9F46-5BFB52B12A64}" srcOrd="0" destOrd="0" presId="urn:microsoft.com/office/officeart/2005/8/layout/hierarchy2"/>
    <dgm:cxn modelId="{C20791BE-177B-A541-907F-5796E942077B}" type="presParOf" srcId="{C85CFA1B-159F-684B-9F46-5BFB52B12A64}" destId="{BB0F3FA1-3834-EB42-A8D4-A87F7B8C99CF}" srcOrd="0" destOrd="0" presId="urn:microsoft.com/office/officeart/2005/8/layout/hierarchy2"/>
    <dgm:cxn modelId="{1789E692-BBA9-A24E-88D4-91AC46D6BF73}" type="presParOf" srcId="{1EB1CE67-8D79-A64E-9558-C2254B0B4D02}" destId="{0E1A8AE8-B44A-614B-AC4E-D45E8953986E}" srcOrd="1" destOrd="0" presId="urn:microsoft.com/office/officeart/2005/8/layout/hierarchy2"/>
    <dgm:cxn modelId="{ABFAFF4E-13A2-144B-9D5B-D4AD2BE9EDCA}" type="presParOf" srcId="{0E1A8AE8-B44A-614B-AC4E-D45E8953986E}" destId="{37CFA982-474D-9A48-A19D-1A20EE345CD9}" srcOrd="0" destOrd="0" presId="urn:microsoft.com/office/officeart/2005/8/layout/hierarchy2"/>
    <dgm:cxn modelId="{984834C8-C530-084D-A7ED-E93E516C971B}" type="presParOf" srcId="{0E1A8AE8-B44A-614B-AC4E-D45E8953986E}" destId="{E010092A-D462-9C47-BB51-1C1B4A299B54}" srcOrd="1" destOrd="0" presId="urn:microsoft.com/office/officeart/2005/8/layout/hierarchy2"/>
    <dgm:cxn modelId="{4E8749BF-821A-714F-A4A6-6A6F0D274B9A}" type="presParOf" srcId="{1EB1CE67-8D79-A64E-9558-C2254B0B4D02}" destId="{D54E9632-DEDA-B543-BEE5-E019F907BD4A}" srcOrd="2" destOrd="0" presId="urn:microsoft.com/office/officeart/2005/8/layout/hierarchy2"/>
    <dgm:cxn modelId="{411B1937-1071-A945-890B-8DBCF9790457}" type="presParOf" srcId="{D54E9632-DEDA-B543-BEE5-E019F907BD4A}" destId="{9B07A6B5-8AC4-5545-81DE-DC60EE7DAE72}" srcOrd="0" destOrd="0" presId="urn:microsoft.com/office/officeart/2005/8/layout/hierarchy2"/>
    <dgm:cxn modelId="{28E16B3F-FB06-994A-AFD9-C8C7588A4A07}" type="presParOf" srcId="{1EB1CE67-8D79-A64E-9558-C2254B0B4D02}" destId="{2AF2833C-A52C-5241-9AA7-8897B663B99B}" srcOrd="3" destOrd="0" presId="urn:microsoft.com/office/officeart/2005/8/layout/hierarchy2"/>
    <dgm:cxn modelId="{BE7E9BB1-5AAE-4E4B-8341-506DB1CFE870}" type="presParOf" srcId="{2AF2833C-A52C-5241-9AA7-8897B663B99B}" destId="{834D8B2D-2752-F54D-ADF9-6B721AB01150}" srcOrd="0" destOrd="0" presId="urn:microsoft.com/office/officeart/2005/8/layout/hierarchy2"/>
    <dgm:cxn modelId="{5113068F-9A3B-6047-91AC-18410B93CFDB}" type="presParOf" srcId="{2AF2833C-A52C-5241-9AA7-8897B663B99B}" destId="{3B3484FA-666E-6647-8BA7-C3E9D410C7B0}" srcOrd="1" destOrd="0" presId="urn:microsoft.com/office/officeart/2005/8/layout/hierarchy2"/>
    <dgm:cxn modelId="{3BFA8AF7-F768-1649-85C7-13AAEC1849EE}" type="presParOf" srcId="{1EB1CE67-8D79-A64E-9558-C2254B0B4D02}" destId="{B970EE0B-1498-7746-B1FE-FC469C2039EA}" srcOrd="4" destOrd="0" presId="urn:microsoft.com/office/officeart/2005/8/layout/hierarchy2"/>
    <dgm:cxn modelId="{60D95A0E-0F0B-E44C-9539-C0BF19E48F0B}" type="presParOf" srcId="{B970EE0B-1498-7746-B1FE-FC469C2039EA}" destId="{6170A76B-3296-F843-80D0-41DA75F515C9}" srcOrd="0" destOrd="0" presId="urn:microsoft.com/office/officeart/2005/8/layout/hierarchy2"/>
    <dgm:cxn modelId="{10DC7EC8-A3C1-054C-8FEF-1F6E30080A2F}" type="presParOf" srcId="{1EB1CE67-8D79-A64E-9558-C2254B0B4D02}" destId="{4AB3E3FA-95A9-9D4D-BFB0-E5C86DACAFDA}" srcOrd="5" destOrd="0" presId="urn:microsoft.com/office/officeart/2005/8/layout/hierarchy2"/>
    <dgm:cxn modelId="{5217DB82-A90C-244E-A31E-21503527AFF7}" type="presParOf" srcId="{4AB3E3FA-95A9-9D4D-BFB0-E5C86DACAFDA}" destId="{8946762D-CB1D-CF45-BA9A-F673B5F6B789}" srcOrd="0" destOrd="0" presId="urn:microsoft.com/office/officeart/2005/8/layout/hierarchy2"/>
    <dgm:cxn modelId="{430CEDCE-AAD8-A24A-824D-379A4E38A6BB}" type="presParOf" srcId="{4AB3E3FA-95A9-9D4D-BFB0-E5C86DACAFDA}" destId="{8A139B2E-3029-EB4C-8D9A-B44C6B94782E}" srcOrd="1" destOrd="0" presId="urn:microsoft.com/office/officeart/2005/8/layout/hierarchy2"/>
    <dgm:cxn modelId="{993BE587-47AC-2143-853A-395432C31844}" type="presParOf" srcId="{1EB1CE67-8D79-A64E-9558-C2254B0B4D02}" destId="{7804EEB4-3189-274B-AABC-986C2D7657AD}" srcOrd="6" destOrd="0" presId="urn:microsoft.com/office/officeart/2005/8/layout/hierarchy2"/>
    <dgm:cxn modelId="{CA9EF93D-89C3-594D-B758-583596CA8786}" type="presParOf" srcId="{7804EEB4-3189-274B-AABC-986C2D7657AD}" destId="{AC15510B-C470-574B-ADCF-C55CCBCA6CFB}" srcOrd="0" destOrd="0" presId="urn:microsoft.com/office/officeart/2005/8/layout/hierarchy2"/>
    <dgm:cxn modelId="{E79839BC-B8D2-C640-87DA-A2529EBD28DB}" type="presParOf" srcId="{1EB1CE67-8D79-A64E-9558-C2254B0B4D02}" destId="{CED9EDC4-A46B-E245-B29B-675822529F72}" srcOrd="7" destOrd="0" presId="urn:microsoft.com/office/officeart/2005/8/layout/hierarchy2"/>
    <dgm:cxn modelId="{32E64579-2AB2-7940-B7CD-DCED6A718211}" type="presParOf" srcId="{CED9EDC4-A46B-E245-B29B-675822529F72}" destId="{567C0660-A0CC-004F-8A60-5E3E09CF55ED}" srcOrd="0" destOrd="0" presId="urn:microsoft.com/office/officeart/2005/8/layout/hierarchy2"/>
    <dgm:cxn modelId="{4911A642-7AB4-C441-B339-86A5A7B7A167}" type="presParOf" srcId="{CED9EDC4-A46B-E245-B29B-675822529F72}" destId="{18B99F06-144B-A146-830F-9850C3C3C211}" srcOrd="1" destOrd="0" presId="urn:microsoft.com/office/officeart/2005/8/layout/hierarchy2"/>
    <dgm:cxn modelId="{32DA3E64-4596-E44F-A4F8-D5057D8A575E}" type="presParOf" srcId="{1EB1CE67-8D79-A64E-9558-C2254B0B4D02}" destId="{524E7653-27FA-654C-A24F-84176289D1FE}" srcOrd="8" destOrd="0" presId="urn:microsoft.com/office/officeart/2005/8/layout/hierarchy2"/>
    <dgm:cxn modelId="{FB6CDE47-88CE-4E4B-9E8F-562469FC6776}" type="presParOf" srcId="{524E7653-27FA-654C-A24F-84176289D1FE}" destId="{DC8B779D-AA1B-CE48-9991-F438FB794CE1}" srcOrd="0" destOrd="0" presId="urn:microsoft.com/office/officeart/2005/8/layout/hierarchy2"/>
    <dgm:cxn modelId="{7DAAC949-C7B3-8E40-9D7B-378E1E902059}" type="presParOf" srcId="{1EB1CE67-8D79-A64E-9558-C2254B0B4D02}" destId="{3DCC4300-B22E-7446-95D1-E08E46ADD5C2}" srcOrd="9" destOrd="0" presId="urn:microsoft.com/office/officeart/2005/8/layout/hierarchy2"/>
    <dgm:cxn modelId="{E23672EB-BDFB-104F-AD71-4BE1895D7207}" type="presParOf" srcId="{3DCC4300-B22E-7446-95D1-E08E46ADD5C2}" destId="{6D644D57-BF16-2044-B874-CFAFB19D0ED7}" srcOrd="0" destOrd="0" presId="urn:microsoft.com/office/officeart/2005/8/layout/hierarchy2"/>
    <dgm:cxn modelId="{9AB463F8-C32B-FA45-A9DA-C600938E83D4}" type="presParOf" srcId="{3DCC4300-B22E-7446-95D1-E08E46ADD5C2}" destId="{BCC30F6A-B0C7-2447-BFB5-A3A79DCA1DCE}" srcOrd="1" destOrd="0" presId="urn:microsoft.com/office/officeart/2005/8/layout/hierarchy2"/>
    <dgm:cxn modelId="{52CC3312-8C41-F44D-A74D-D1169DEFADED}" type="presParOf" srcId="{1EB1CE67-8D79-A64E-9558-C2254B0B4D02}" destId="{91BE44B5-31FA-8441-A67E-965E80CA92E2}" srcOrd="10" destOrd="0" presId="urn:microsoft.com/office/officeart/2005/8/layout/hierarchy2"/>
    <dgm:cxn modelId="{166C5A3B-C909-BE4C-A873-8E28E1547749}" type="presParOf" srcId="{91BE44B5-31FA-8441-A67E-965E80CA92E2}" destId="{A7F7A0D5-EE3A-7C4D-844B-4130D309F90D}" srcOrd="0" destOrd="0" presId="urn:microsoft.com/office/officeart/2005/8/layout/hierarchy2"/>
    <dgm:cxn modelId="{2BF4EFAC-9960-014B-ACBC-2BCA013467DF}" type="presParOf" srcId="{1EB1CE67-8D79-A64E-9558-C2254B0B4D02}" destId="{78027B88-8EFD-704F-A2F2-A835E2E57A5B}" srcOrd="11" destOrd="0" presId="urn:microsoft.com/office/officeart/2005/8/layout/hierarchy2"/>
    <dgm:cxn modelId="{755943E2-C43C-E947-9E3E-6FF8FB6E4E66}" type="presParOf" srcId="{78027B88-8EFD-704F-A2F2-A835E2E57A5B}" destId="{B1F702DC-DBAE-BA48-8B25-8D1A1C6D3107}" srcOrd="0" destOrd="0" presId="urn:microsoft.com/office/officeart/2005/8/layout/hierarchy2"/>
    <dgm:cxn modelId="{16A77793-C475-374A-8F13-E5A516807710}" type="presParOf" srcId="{78027B88-8EFD-704F-A2F2-A835E2E57A5B}" destId="{6AAA4D76-F64E-CD40-BF41-EA32C81D950E}" srcOrd="1" destOrd="0" presId="urn:microsoft.com/office/officeart/2005/8/layout/hierarchy2"/>
    <dgm:cxn modelId="{5AE938FE-176B-2E48-B1B2-A37721063EAC}" type="presParOf" srcId="{1EB1CE67-8D79-A64E-9558-C2254B0B4D02}" destId="{C31CBF6A-4F2F-7241-8B69-42068685F47A}" srcOrd="12" destOrd="0" presId="urn:microsoft.com/office/officeart/2005/8/layout/hierarchy2"/>
    <dgm:cxn modelId="{8D25FCB0-82B1-6F4A-9867-A41E14A54DC2}" type="presParOf" srcId="{C31CBF6A-4F2F-7241-8B69-42068685F47A}" destId="{6186A009-F339-5B43-850B-ACF6C4922B01}" srcOrd="0" destOrd="0" presId="urn:microsoft.com/office/officeart/2005/8/layout/hierarchy2"/>
    <dgm:cxn modelId="{63B7B445-6E32-2D4F-ABC2-162770FCE8E1}" type="presParOf" srcId="{1EB1CE67-8D79-A64E-9558-C2254B0B4D02}" destId="{FD5C41E5-D731-1D40-B286-C01C695D68E8}" srcOrd="13" destOrd="0" presId="urn:microsoft.com/office/officeart/2005/8/layout/hierarchy2"/>
    <dgm:cxn modelId="{651B18C2-D591-7643-BE6B-D282E21C3A1B}" type="presParOf" srcId="{FD5C41E5-D731-1D40-B286-C01C695D68E8}" destId="{C8B3F922-B8FB-9345-800A-1A3A9288A964}" srcOrd="0" destOrd="0" presId="urn:microsoft.com/office/officeart/2005/8/layout/hierarchy2"/>
    <dgm:cxn modelId="{879E3FB7-5D44-B44B-B194-CD5F904FC3A6}" type="presParOf" srcId="{FD5C41E5-D731-1D40-B286-C01C695D68E8}" destId="{50AAFC10-FD31-7C45-82D0-46A1D475B486}" srcOrd="1" destOrd="0" presId="urn:microsoft.com/office/officeart/2005/8/layout/hierarchy2"/>
    <dgm:cxn modelId="{9D279D3B-521A-BF46-8CD5-571FD27334EA}" type="presParOf" srcId="{1EB1CE67-8D79-A64E-9558-C2254B0B4D02}" destId="{D79BED95-9093-B040-A37C-88719E4878A5}" srcOrd="14" destOrd="0" presId="urn:microsoft.com/office/officeart/2005/8/layout/hierarchy2"/>
    <dgm:cxn modelId="{E77E2602-EBAC-D042-83A8-4B499D1839CB}" type="presParOf" srcId="{D79BED95-9093-B040-A37C-88719E4878A5}" destId="{77D2D9D9-676F-BD49-BC25-1AEEAFB5A65A}" srcOrd="0" destOrd="0" presId="urn:microsoft.com/office/officeart/2005/8/layout/hierarchy2"/>
    <dgm:cxn modelId="{6BA63177-C39D-C844-AF36-D78160F1A74B}" type="presParOf" srcId="{1EB1CE67-8D79-A64E-9558-C2254B0B4D02}" destId="{420EC6BA-944F-B84A-A3A5-E940E7328ADA}" srcOrd="15" destOrd="0" presId="urn:microsoft.com/office/officeart/2005/8/layout/hierarchy2"/>
    <dgm:cxn modelId="{B5FFFA78-19C7-254F-A70F-AF447C0CE4A5}" type="presParOf" srcId="{420EC6BA-944F-B84A-A3A5-E940E7328ADA}" destId="{C409A503-C1ED-0444-8CFF-B42376E5A01D}" srcOrd="0" destOrd="0" presId="urn:microsoft.com/office/officeart/2005/8/layout/hierarchy2"/>
    <dgm:cxn modelId="{96C19913-1A6D-D94D-990A-8A4BCD2130FB}" type="presParOf" srcId="{420EC6BA-944F-B84A-A3A5-E940E7328ADA}" destId="{6912D8F1-5D4A-F14D-93AE-AD435CB0B6D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78C4BA-8CBD-A345-AE16-A2228AAF26C4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B537D03A-EE24-D047-8A67-A5CB63D4D525}">
      <dgm:prSet phldrT="[Text]"/>
      <dgm:spPr/>
      <dgm:t>
        <a:bodyPr/>
        <a:lstStyle/>
        <a:p>
          <a:r>
            <a:rPr lang="en-US" dirty="0" smtClean="0"/>
            <a:t>Annotate Consent </a:t>
          </a:r>
          <a:endParaRPr lang="en-US" dirty="0"/>
        </a:p>
      </dgm:t>
    </dgm:pt>
    <dgm:pt modelId="{554CD2CF-84EE-3F41-A24D-B04EE87578A2}" type="parTrans" cxnId="{A8692FB2-909C-934E-A6FF-E0647B5FBC9C}">
      <dgm:prSet/>
      <dgm:spPr/>
      <dgm:t>
        <a:bodyPr/>
        <a:lstStyle/>
        <a:p>
          <a:endParaRPr lang="en-US"/>
        </a:p>
      </dgm:t>
    </dgm:pt>
    <dgm:pt modelId="{F491D640-7BFF-9C4C-9362-1D79D1E3B518}" type="sibTrans" cxnId="{A8692FB2-909C-934E-A6FF-E0647B5FBC9C}">
      <dgm:prSet/>
      <dgm:spPr/>
      <dgm:t>
        <a:bodyPr/>
        <a:lstStyle/>
        <a:p>
          <a:endParaRPr lang="en-US"/>
        </a:p>
      </dgm:t>
    </dgm:pt>
    <dgm:pt modelId="{96B3BF33-34F9-6B4C-82A6-A1429CF548B1}">
      <dgm:prSet phldrT="[Text]"/>
      <dgm:spPr/>
      <dgm:t>
        <a:bodyPr/>
        <a:lstStyle/>
        <a:p>
          <a:r>
            <a:rPr lang="en-US" dirty="0" smtClean="0"/>
            <a:t>Generate Consent Instance</a:t>
          </a:r>
          <a:endParaRPr lang="en-US" dirty="0"/>
        </a:p>
      </dgm:t>
    </dgm:pt>
    <dgm:pt modelId="{E60D71FE-FF8A-A340-A588-8B8AAFCBA2BB}" type="parTrans" cxnId="{9401B48F-F68A-544C-8294-C2B9F004F2B1}">
      <dgm:prSet/>
      <dgm:spPr/>
      <dgm:t>
        <a:bodyPr/>
        <a:lstStyle/>
        <a:p>
          <a:endParaRPr lang="en-US"/>
        </a:p>
      </dgm:t>
    </dgm:pt>
    <dgm:pt modelId="{0FD990FB-915D-D945-9918-C89D0D469637}" type="sibTrans" cxnId="{9401B48F-F68A-544C-8294-C2B9F004F2B1}">
      <dgm:prSet/>
      <dgm:spPr/>
      <dgm:t>
        <a:bodyPr/>
        <a:lstStyle/>
        <a:p>
          <a:endParaRPr lang="en-US"/>
        </a:p>
      </dgm:t>
    </dgm:pt>
    <dgm:pt modelId="{E104A466-0828-924E-B2BC-8D341CC4552B}">
      <dgm:prSet phldrT="[Text]"/>
      <dgm:spPr/>
      <dgm:t>
        <a:bodyPr/>
        <a:lstStyle/>
        <a:p>
          <a:r>
            <a:rPr lang="en-US" dirty="0" smtClean="0"/>
            <a:t>Generate XACML Permission</a:t>
          </a:r>
          <a:endParaRPr lang="en-US" dirty="0"/>
        </a:p>
      </dgm:t>
    </dgm:pt>
    <dgm:pt modelId="{F6AEAC48-5EEB-E946-8642-5A53D6A091D8}" type="parTrans" cxnId="{23E04271-DAAF-D64D-8AA7-C35801A265F1}">
      <dgm:prSet/>
      <dgm:spPr/>
      <dgm:t>
        <a:bodyPr/>
        <a:lstStyle/>
        <a:p>
          <a:endParaRPr lang="en-US"/>
        </a:p>
      </dgm:t>
    </dgm:pt>
    <dgm:pt modelId="{D1C2230C-655F-B04C-94F3-D3768DAA8B69}" type="sibTrans" cxnId="{23E04271-DAAF-D64D-8AA7-C35801A265F1}">
      <dgm:prSet/>
      <dgm:spPr/>
      <dgm:t>
        <a:bodyPr/>
        <a:lstStyle/>
        <a:p>
          <a:endParaRPr lang="en-US"/>
        </a:p>
      </dgm:t>
    </dgm:pt>
    <dgm:pt modelId="{B50DBA2D-F20E-1940-B117-BC95542DF7C9}" type="pres">
      <dgm:prSet presAssocID="{FD78C4BA-8CBD-A345-AE16-A2228AAF26C4}" presName="Name0" presStyleCnt="0">
        <dgm:presLayoutVars>
          <dgm:dir/>
          <dgm:animLvl val="lvl"/>
          <dgm:resizeHandles val="exact"/>
        </dgm:presLayoutVars>
      </dgm:prSet>
      <dgm:spPr/>
    </dgm:pt>
    <dgm:pt modelId="{E501504D-2678-3943-8E88-EED865559DE7}" type="pres">
      <dgm:prSet presAssocID="{B537D03A-EE24-D047-8A67-A5CB63D4D52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287B86-CAA9-D94D-8437-184FCF284310}" type="pres">
      <dgm:prSet presAssocID="{F491D640-7BFF-9C4C-9362-1D79D1E3B518}" presName="parTxOnlySpace" presStyleCnt="0"/>
      <dgm:spPr/>
    </dgm:pt>
    <dgm:pt modelId="{94EB8C2A-B44F-E144-9AE1-EEC123911ECC}" type="pres">
      <dgm:prSet presAssocID="{96B3BF33-34F9-6B4C-82A6-A1429CF548B1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C9041C-41DB-F646-B576-FA13DE2E4014}" type="pres">
      <dgm:prSet presAssocID="{0FD990FB-915D-D945-9918-C89D0D469637}" presName="parTxOnlySpace" presStyleCnt="0"/>
      <dgm:spPr/>
    </dgm:pt>
    <dgm:pt modelId="{C032D389-ED25-F94E-97DA-53574C2500B3}" type="pres">
      <dgm:prSet presAssocID="{E104A466-0828-924E-B2BC-8D341CC4552B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AF6E1E1-1910-104A-B0C3-DC3CFC536C2B}" type="presOf" srcId="{FD78C4BA-8CBD-A345-AE16-A2228AAF26C4}" destId="{B50DBA2D-F20E-1940-B117-BC95542DF7C9}" srcOrd="0" destOrd="0" presId="urn:microsoft.com/office/officeart/2005/8/layout/chevron1"/>
    <dgm:cxn modelId="{5867FE69-1DD2-6045-9EE2-CFA86390D818}" type="presOf" srcId="{E104A466-0828-924E-B2BC-8D341CC4552B}" destId="{C032D389-ED25-F94E-97DA-53574C2500B3}" srcOrd="0" destOrd="0" presId="urn:microsoft.com/office/officeart/2005/8/layout/chevron1"/>
    <dgm:cxn modelId="{A8692FB2-909C-934E-A6FF-E0647B5FBC9C}" srcId="{FD78C4BA-8CBD-A345-AE16-A2228AAF26C4}" destId="{B537D03A-EE24-D047-8A67-A5CB63D4D525}" srcOrd="0" destOrd="0" parTransId="{554CD2CF-84EE-3F41-A24D-B04EE87578A2}" sibTransId="{F491D640-7BFF-9C4C-9362-1D79D1E3B518}"/>
    <dgm:cxn modelId="{B4983115-D267-6247-9F77-B277B32CCF7E}" type="presOf" srcId="{B537D03A-EE24-D047-8A67-A5CB63D4D525}" destId="{E501504D-2678-3943-8E88-EED865559DE7}" srcOrd="0" destOrd="0" presId="urn:microsoft.com/office/officeart/2005/8/layout/chevron1"/>
    <dgm:cxn modelId="{F20E07E5-E798-4347-BDD2-9BDC4E0EAC5C}" type="presOf" srcId="{96B3BF33-34F9-6B4C-82A6-A1429CF548B1}" destId="{94EB8C2A-B44F-E144-9AE1-EEC123911ECC}" srcOrd="0" destOrd="0" presId="urn:microsoft.com/office/officeart/2005/8/layout/chevron1"/>
    <dgm:cxn modelId="{23E04271-DAAF-D64D-8AA7-C35801A265F1}" srcId="{FD78C4BA-8CBD-A345-AE16-A2228AAF26C4}" destId="{E104A466-0828-924E-B2BC-8D341CC4552B}" srcOrd="2" destOrd="0" parTransId="{F6AEAC48-5EEB-E946-8642-5A53D6A091D8}" sibTransId="{D1C2230C-655F-B04C-94F3-D3768DAA8B69}"/>
    <dgm:cxn modelId="{9401B48F-F68A-544C-8294-C2B9F004F2B1}" srcId="{FD78C4BA-8CBD-A345-AE16-A2228AAF26C4}" destId="{96B3BF33-34F9-6B4C-82A6-A1429CF548B1}" srcOrd="1" destOrd="0" parTransId="{E60D71FE-FF8A-A340-A588-8B8AAFCBA2BB}" sibTransId="{0FD990FB-915D-D945-9918-C89D0D469637}"/>
    <dgm:cxn modelId="{216060DC-E4E8-E243-ACAA-C100A43D8031}" type="presParOf" srcId="{B50DBA2D-F20E-1940-B117-BC95542DF7C9}" destId="{E501504D-2678-3943-8E88-EED865559DE7}" srcOrd="0" destOrd="0" presId="urn:microsoft.com/office/officeart/2005/8/layout/chevron1"/>
    <dgm:cxn modelId="{F9B3CD7F-31E6-6C44-BB20-DF608916F9EC}" type="presParOf" srcId="{B50DBA2D-F20E-1940-B117-BC95542DF7C9}" destId="{24287B86-CAA9-D94D-8437-184FCF284310}" srcOrd="1" destOrd="0" presId="urn:microsoft.com/office/officeart/2005/8/layout/chevron1"/>
    <dgm:cxn modelId="{B610C7F9-7A28-7440-A775-80ABE878D289}" type="presParOf" srcId="{B50DBA2D-F20E-1940-B117-BC95542DF7C9}" destId="{94EB8C2A-B44F-E144-9AE1-EEC123911ECC}" srcOrd="2" destOrd="0" presId="urn:microsoft.com/office/officeart/2005/8/layout/chevron1"/>
    <dgm:cxn modelId="{9F915C9B-F453-4949-B6D7-D4E18957CD42}" type="presParOf" srcId="{B50DBA2D-F20E-1940-B117-BC95542DF7C9}" destId="{31C9041C-41DB-F646-B576-FA13DE2E4014}" srcOrd="3" destOrd="0" presId="urn:microsoft.com/office/officeart/2005/8/layout/chevron1"/>
    <dgm:cxn modelId="{C813CC4C-126D-5E4E-A9A1-3290F593B723}" type="presParOf" srcId="{B50DBA2D-F20E-1940-B117-BC95542DF7C9}" destId="{C032D389-ED25-F94E-97DA-53574C2500B3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912B8-C07C-8A4C-8D4B-B55AC7BC7527}">
      <dsp:nvSpPr>
        <dsp:cNvPr id="0" name=""/>
        <dsp:cNvSpPr/>
      </dsp:nvSpPr>
      <dsp:spPr>
        <a:xfrm>
          <a:off x="0" y="0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International reach: data about any EU citizen</a:t>
          </a:r>
          <a:endParaRPr lang="en-US" sz="2900" kern="1200" dirty="0"/>
        </a:p>
      </dsp:txBody>
      <dsp:txXfrm>
        <a:off x="32079" y="32079"/>
        <a:ext cx="5945966" cy="1031090"/>
      </dsp:txXfrm>
    </dsp:sp>
    <dsp:sp modelId="{6E1A64EA-10A0-4643-A4B4-5CC3DE2E6AAD}">
      <dsp:nvSpPr>
        <dsp:cNvPr id="0" name=""/>
        <dsp:cNvSpPr/>
      </dsp:nvSpPr>
      <dsp:spPr>
        <a:xfrm>
          <a:off x="604706" y="1294384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Fines </a:t>
          </a:r>
          <a:r>
            <a:rPr lang="en-US" sz="2900" kern="1200" dirty="0" err="1" smtClean="0"/>
            <a:t>upto</a:t>
          </a:r>
          <a:r>
            <a:rPr lang="en-US" sz="2900" kern="1200" dirty="0" smtClean="0"/>
            <a:t> €20M or 4% of global turnover</a:t>
          </a:r>
          <a:endParaRPr lang="en-US" sz="2900" kern="1200" dirty="0"/>
        </a:p>
      </dsp:txBody>
      <dsp:txXfrm>
        <a:off x="636785" y="1326463"/>
        <a:ext cx="5839598" cy="1031089"/>
      </dsp:txXfrm>
    </dsp:sp>
    <dsp:sp modelId="{74180C1B-274D-7B4B-BED5-A89E54418A60}">
      <dsp:nvSpPr>
        <dsp:cNvPr id="0" name=""/>
        <dsp:cNvSpPr/>
      </dsp:nvSpPr>
      <dsp:spPr>
        <a:xfrm>
          <a:off x="1200387" y="2588768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Must Demonstrate compliance</a:t>
          </a:r>
        </a:p>
      </dsp:txBody>
      <dsp:txXfrm>
        <a:off x="1232466" y="2620847"/>
        <a:ext cx="5848623" cy="1031090"/>
      </dsp:txXfrm>
    </dsp:sp>
    <dsp:sp modelId="{B3545E0F-2C7A-5F47-A823-B8A6759FDCD2}">
      <dsp:nvSpPr>
        <dsp:cNvPr id="0" name=""/>
        <dsp:cNvSpPr/>
      </dsp:nvSpPr>
      <dsp:spPr>
        <a:xfrm>
          <a:off x="1805093" y="3883152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Processing lawful only through Informed Consent</a:t>
          </a:r>
        </a:p>
      </dsp:txBody>
      <dsp:txXfrm>
        <a:off x="1837172" y="3915231"/>
        <a:ext cx="5839598" cy="1031090"/>
      </dsp:txXfrm>
    </dsp:sp>
    <dsp:sp modelId="{262C971D-FA45-D645-A909-A6AF5AAB8AB4}">
      <dsp:nvSpPr>
        <dsp:cNvPr id="0" name=""/>
        <dsp:cNvSpPr/>
      </dsp:nvSpPr>
      <dsp:spPr>
        <a:xfrm>
          <a:off x="6508462" y="838860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6668642" y="838860"/>
        <a:ext cx="391551" cy="535713"/>
      </dsp:txXfrm>
    </dsp:sp>
    <dsp:sp modelId="{C7290816-3E5F-EA4C-B663-FFD646525D4E}">
      <dsp:nvSpPr>
        <dsp:cNvPr id="0" name=""/>
        <dsp:cNvSpPr/>
      </dsp:nvSpPr>
      <dsp:spPr>
        <a:xfrm>
          <a:off x="7113168" y="2133244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7273348" y="2133244"/>
        <a:ext cx="391551" cy="535713"/>
      </dsp:txXfrm>
    </dsp:sp>
    <dsp:sp modelId="{61C561B3-69A2-8E4B-801C-58CC688B03E7}">
      <dsp:nvSpPr>
        <dsp:cNvPr id="0" name=""/>
        <dsp:cNvSpPr/>
      </dsp:nvSpPr>
      <dsp:spPr>
        <a:xfrm>
          <a:off x="7708849" y="3427628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7869029" y="3427628"/>
        <a:ext cx="391551" cy="5357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1F6E54-F949-4448-A255-4C60154416C0}">
      <dsp:nvSpPr>
        <dsp:cNvPr id="0" name=""/>
        <dsp:cNvSpPr/>
      </dsp:nvSpPr>
      <dsp:spPr>
        <a:xfrm>
          <a:off x="605172" y="2514526"/>
          <a:ext cx="1189195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ight to:</a:t>
          </a:r>
          <a:endParaRPr lang="en-US" sz="2500" kern="1200" dirty="0"/>
        </a:p>
      </dsp:txBody>
      <dsp:txXfrm>
        <a:off x="622587" y="2531941"/>
        <a:ext cx="1154365" cy="559767"/>
      </dsp:txXfrm>
    </dsp:sp>
    <dsp:sp modelId="{C85CFA1B-159F-684B-9F46-5BFB52B12A64}">
      <dsp:nvSpPr>
        <dsp:cNvPr id="0" name=""/>
        <dsp:cNvSpPr/>
      </dsp:nvSpPr>
      <dsp:spPr>
        <a:xfrm rot="16874489">
          <a:off x="812171" y="1605681"/>
          <a:ext cx="2440069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2440069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971204" y="1554195"/>
        <a:ext cx="122003" cy="122003"/>
      </dsp:txXfrm>
    </dsp:sp>
    <dsp:sp modelId="{37CFA982-474D-9A48-A19D-1A20EE345CD9}">
      <dsp:nvSpPr>
        <dsp:cNvPr id="0" name=""/>
        <dsp:cNvSpPr/>
      </dsp:nvSpPr>
      <dsp:spPr>
        <a:xfrm>
          <a:off x="2270045" y="3294"/>
          <a:ext cx="5941028" cy="8305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Information “concise, transparent, intelligible and easily accessible”</a:t>
          </a:r>
          <a:endParaRPr lang="en-US" sz="2800" kern="1200" dirty="0"/>
        </a:p>
      </dsp:txBody>
      <dsp:txXfrm>
        <a:off x="2294371" y="27620"/>
        <a:ext cx="5892376" cy="781899"/>
      </dsp:txXfrm>
    </dsp:sp>
    <dsp:sp modelId="{D54E9632-DEDA-B543-BEE5-E019F907BD4A}">
      <dsp:nvSpPr>
        <dsp:cNvPr id="0" name=""/>
        <dsp:cNvSpPr/>
      </dsp:nvSpPr>
      <dsp:spPr>
        <a:xfrm rot="17198447">
          <a:off x="1201677" y="2006563"/>
          <a:ext cx="166105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66105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90679" y="1974553"/>
        <a:ext cx="83052" cy="83052"/>
      </dsp:txXfrm>
    </dsp:sp>
    <dsp:sp modelId="{834D8B2D-2752-F54D-ADF9-6B721AB01150}">
      <dsp:nvSpPr>
        <dsp:cNvPr id="0" name=""/>
        <dsp:cNvSpPr/>
      </dsp:nvSpPr>
      <dsp:spPr>
        <a:xfrm>
          <a:off x="2270045" y="923035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Make a subject access request</a:t>
          </a:r>
          <a:endParaRPr lang="en-US" sz="2800" kern="1200" dirty="0"/>
        </a:p>
      </dsp:txBody>
      <dsp:txXfrm>
        <a:off x="2287460" y="940450"/>
        <a:ext cx="5906198" cy="559767"/>
      </dsp:txXfrm>
    </dsp:sp>
    <dsp:sp modelId="{B970EE0B-1498-7746-B1FE-FC469C2039EA}">
      <dsp:nvSpPr>
        <dsp:cNvPr id="0" name=""/>
        <dsp:cNvSpPr/>
      </dsp:nvSpPr>
      <dsp:spPr>
        <a:xfrm rot="17859395">
          <a:off x="1519811" y="2348457"/>
          <a:ext cx="1024790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024790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06586" y="2332353"/>
        <a:ext cx="51239" cy="51239"/>
      </dsp:txXfrm>
    </dsp:sp>
    <dsp:sp modelId="{8946762D-CB1D-CF45-BA9A-F673B5F6B789}">
      <dsp:nvSpPr>
        <dsp:cNvPr id="0" name=""/>
        <dsp:cNvSpPr/>
      </dsp:nvSpPr>
      <dsp:spPr>
        <a:xfrm>
          <a:off x="2270045" y="1606822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Rectification</a:t>
          </a:r>
          <a:endParaRPr lang="en-US" sz="2800" kern="1200" dirty="0"/>
        </a:p>
      </dsp:txBody>
      <dsp:txXfrm>
        <a:off x="2287460" y="1624237"/>
        <a:ext cx="5906198" cy="559767"/>
      </dsp:txXfrm>
    </dsp:sp>
    <dsp:sp modelId="{7804EEB4-3189-274B-AABC-986C2D7657AD}">
      <dsp:nvSpPr>
        <dsp:cNvPr id="0" name=""/>
        <dsp:cNvSpPr/>
      </dsp:nvSpPr>
      <dsp:spPr>
        <a:xfrm rot="20087530">
          <a:off x="1769333" y="2690350"/>
          <a:ext cx="525745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525745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19062" y="2686723"/>
        <a:ext cx="26287" cy="26287"/>
      </dsp:txXfrm>
    </dsp:sp>
    <dsp:sp modelId="{567C0660-A0CC-004F-8A60-5E3E09CF55ED}">
      <dsp:nvSpPr>
        <dsp:cNvPr id="0" name=""/>
        <dsp:cNvSpPr/>
      </dsp:nvSpPr>
      <dsp:spPr>
        <a:xfrm>
          <a:off x="2270045" y="2290609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Erasure</a:t>
          </a:r>
          <a:endParaRPr lang="en-US" sz="2800" kern="1200" dirty="0"/>
        </a:p>
      </dsp:txBody>
      <dsp:txXfrm>
        <a:off x="2287460" y="2308024"/>
        <a:ext cx="5906198" cy="559767"/>
      </dsp:txXfrm>
    </dsp:sp>
    <dsp:sp modelId="{524E7653-27FA-654C-A24F-84176289D1FE}">
      <dsp:nvSpPr>
        <dsp:cNvPr id="0" name=""/>
        <dsp:cNvSpPr/>
      </dsp:nvSpPr>
      <dsp:spPr>
        <a:xfrm rot="2641920">
          <a:off x="1701392" y="3032244"/>
          <a:ext cx="66162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66162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15665" y="3025219"/>
        <a:ext cx="33081" cy="33081"/>
      </dsp:txXfrm>
    </dsp:sp>
    <dsp:sp modelId="{6D644D57-BF16-2044-B874-CFAFB19D0ED7}">
      <dsp:nvSpPr>
        <dsp:cNvPr id="0" name=""/>
        <dsp:cNvSpPr/>
      </dsp:nvSpPr>
      <dsp:spPr>
        <a:xfrm>
          <a:off x="2270045" y="2974396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Data portability</a:t>
          </a:r>
          <a:endParaRPr lang="en-US" sz="2800" kern="1200" dirty="0"/>
        </a:p>
      </dsp:txBody>
      <dsp:txXfrm>
        <a:off x="2287460" y="2991811"/>
        <a:ext cx="5906198" cy="559767"/>
      </dsp:txXfrm>
    </dsp:sp>
    <dsp:sp modelId="{91BE44B5-31FA-8441-A67E-965E80CA92E2}">
      <dsp:nvSpPr>
        <dsp:cNvPr id="0" name=""/>
        <dsp:cNvSpPr/>
      </dsp:nvSpPr>
      <dsp:spPr>
        <a:xfrm rot="4044976">
          <a:off x="1412887" y="3374138"/>
          <a:ext cx="123863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23863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01240" y="3352687"/>
        <a:ext cx="61931" cy="61931"/>
      </dsp:txXfrm>
    </dsp:sp>
    <dsp:sp modelId="{B1F702DC-DBAE-BA48-8B25-8D1A1C6D3107}">
      <dsp:nvSpPr>
        <dsp:cNvPr id="0" name=""/>
        <dsp:cNvSpPr/>
      </dsp:nvSpPr>
      <dsp:spPr>
        <a:xfrm>
          <a:off x="2270045" y="3658184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Restrict access</a:t>
          </a:r>
          <a:endParaRPr lang="en-US" sz="2800" kern="1200" dirty="0"/>
        </a:p>
      </dsp:txBody>
      <dsp:txXfrm>
        <a:off x="2287460" y="3675599"/>
        <a:ext cx="5906198" cy="559767"/>
      </dsp:txXfrm>
    </dsp:sp>
    <dsp:sp modelId="{C31CBF6A-4F2F-7241-8B69-42068685F47A}">
      <dsp:nvSpPr>
        <dsp:cNvPr id="0" name=""/>
        <dsp:cNvSpPr/>
      </dsp:nvSpPr>
      <dsp:spPr>
        <a:xfrm rot="4524591">
          <a:off x="1088036" y="3716031"/>
          <a:ext cx="1888339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888339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1984997" y="3678339"/>
        <a:ext cx="94416" cy="94416"/>
      </dsp:txXfrm>
    </dsp:sp>
    <dsp:sp modelId="{C8B3F922-B8FB-9345-800A-1A3A9288A964}">
      <dsp:nvSpPr>
        <dsp:cNvPr id="0" name=""/>
        <dsp:cNvSpPr/>
      </dsp:nvSpPr>
      <dsp:spPr>
        <a:xfrm>
          <a:off x="2270045" y="4341971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 to processing</a:t>
          </a:r>
          <a:endParaRPr lang="en-US" sz="2800" kern="1200" dirty="0"/>
        </a:p>
      </dsp:txBody>
      <dsp:txXfrm>
        <a:off x="2287460" y="4359386"/>
        <a:ext cx="5906198" cy="559767"/>
      </dsp:txXfrm>
    </dsp:sp>
    <dsp:sp modelId="{D79BED95-9093-B040-A37C-88719E4878A5}">
      <dsp:nvSpPr>
        <dsp:cNvPr id="0" name=""/>
        <dsp:cNvSpPr/>
      </dsp:nvSpPr>
      <dsp:spPr>
        <a:xfrm rot="4756446">
          <a:off x="754262" y="4057925"/>
          <a:ext cx="2555886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2555886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968309" y="4003543"/>
        <a:ext cx="127794" cy="127794"/>
      </dsp:txXfrm>
    </dsp:sp>
    <dsp:sp modelId="{C409A503-C1ED-0444-8CFF-B42376E5A01D}">
      <dsp:nvSpPr>
        <dsp:cNvPr id="0" name=""/>
        <dsp:cNvSpPr/>
      </dsp:nvSpPr>
      <dsp:spPr>
        <a:xfrm>
          <a:off x="2270045" y="5025758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Be inform who receives data</a:t>
          </a:r>
          <a:endParaRPr lang="en-US" sz="2800" kern="1200" dirty="0"/>
        </a:p>
      </dsp:txBody>
      <dsp:txXfrm>
        <a:off x="2287460" y="5043173"/>
        <a:ext cx="5906198" cy="5597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01504D-2678-3943-8E88-EED865559DE7}">
      <dsp:nvSpPr>
        <dsp:cNvPr id="0" name=""/>
        <dsp:cNvSpPr/>
      </dsp:nvSpPr>
      <dsp:spPr>
        <a:xfrm>
          <a:off x="1785" y="1596826"/>
          <a:ext cx="2175867" cy="87034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Annotate Consent </a:t>
          </a:r>
          <a:endParaRPr lang="en-US" sz="1900" kern="1200" dirty="0"/>
        </a:p>
      </dsp:txBody>
      <dsp:txXfrm>
        <a:off x="436958" y="1596826"/>
        <a:ext cx="1305521" cy="870346"/>
      </dsp:txXfrm>
    </dsp:sp>
    <dsp:sp modelId="{94EB8C2A-B44F-E144-9AE1-EEC123911ECC}">
      <dsp:nvSpPr>
        <dsp:cNvPr id="0" name=""/>
        <dsp:cNvSpPr/>
      </dsp:nvSpPr>
      <dsp:spPr>
        <a:xfrm>
          <a:off x="1960066" y="1596826"/>
          <a:ext cx="2175867" cy="87034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Generate Consent Instance</a:t>
          </a:r>
          <a:endParaRPr lang="en-US" sz="1900" kern="1200" dirty="0"/>
        </a:p>
      </dsp:txBody>
      <dsp:txXfrm>
        <a:off x="2395239" y="1596826"/>
        <a:ext cx="1305521" cy="870346"/>
      </dsp:txXfrm>
    </dsp:sp>
    <dsp:sp modelId="{C032D389-ED25-F94E-97DA-53574C2500B3}">
      <dsp:nvSpPr>
        <dsp:cNvPr id="0" name=""/>
        <dsp:cNvSpPr/>
      </dsp:nvSpPr>
      <dsp:spPr>
        <a:xfrm>
          <a:off x="3918346" y="1596826"/>
          <a:ext cx="2175867" cy="870346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Generate XACML Permission</a:t>
          </a:r>
          <a:endParaRPr lang="en-US" sz="1900" kern="1200" dirty="0"/>
        </a:p>
      </dsp:txBody>
      <dsp:txXfrm>
        <a:off x="4353519" y="1596826"/>
        <a:ext cx="1305521" cy="8703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94903-9C16-4C79-A6AB-DACCCF95BC06}" type="datetimeFigureOut">
              <a:rPr lang="en-GB" smtClean="0"/>
              <a:t>21/10/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ABEE73-6667-4329-BD63-CE78D017756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017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be considered as a valid one the consent should be: </a:t>
            </a:r>
            <a:endParaRPr lang="en-GB" dirty="0" smtClean="0"/>
          </a:p>
          <a:p>
            <a:r>
              <a:rPr lang="en-US" b="1" dirty="0" smtClean="0"/>
              <a:t>Freely given:</a:t>
            </a:r>
            <a:r>
              <a:rPr lang="en-US" dirty="0" smtClean="0"/>
              <a:t> To be accounted as a valid consent, the consent has to be freely given by the data subject. A consent is not freely given if the data subject has no genuine and free choice, or is unable to refuse or withdraw consent easily, or there is a "clear imbalance" between the controller and the data subject (e.g., between an employer and an employee).</a:t>
            </a:r>
          </a:p>
          <a:p>
            <a:r>
              <a:rPr lang="en-US" b="1" dirty="0" smtClean="0"/>
              <a:t>Specific: </a:t>
            </a:r>
            <a:r>
              <a:rPr lang="en-US" dirty="0" smtClean="0"/>
              <a:t>The </a:t>
            </a:r>
            <a:r>
              <a:rPr lang="x-none" smtClean="0"/>
              <a:t>request for consent shall be presented in a manner which is clearly distinguishable from the other matters, in an intelligible and easily accessible form, using clear and plain language.</a:t>
            </a:r>
            <a:endParaRPr lang="en-GB" dirty="0" smtClean="0"/>
          </a:p>
          <a:p>
            <a:r>
              <a:rPr lang="en-US" b="1" dirty="0" smtClean="0"/>
              <a:t>Informed: </a:t>
            </a:r>
            <a:r>
              <a:rPr lang="en-US" dirty="0" smtClean="0"/>
              <a:t>According to GDPR Rec.32, 42, Art.4 &amp; 7 consent must be taken from data subject by informing the nature of processing in an intelligible format, purpose of processing and identify of the controller and information about withdrawing consent.  </a:t>
            </a:r>
            <a:endParaRPr lang="en-GB" dirty="0" smtClean="0"/>
          </a:p>
          <a:p>
            <a:r>
              <a:rPr lang="en-US" b="1" dirty="0" smtClean="0"/>
              <a:t>Unambiguous:</a:t>
            </a:r>
            <a:r>
              <a:rPr lang="en-US" dirty="0" smtClean="0"/>
              <a:t> Data subject should take </a:t>
            </a:r>
            <a:r>
              <a:rPr lang="en-US" i="1" dirty="0" smtClean="0"/>
              <a:t>clear affirmative action </a:t>
            </a:r>
            <a:r>
              <a:rPr lang="en-US" dirty="0" smtClean="0"/>
              <a:t>as an indication to acceptance to the proposed processing of personal data. GDPR recognizes the validity of commonly used methods for collecting consent, such as, consent provided verbally, in writing, by ticking a box on a web page, by choosing technical settings in an app, or by any other statement or conduct. Therefore, inactivity, pre-ticked boxes, silence, failure to opt-out, or passive acquiescence do not form a valid consent. </a:t>
            </a:r>
            <a:endParaRPr lang="en-GB" dirty="0" smtClean="0"/>
          </a:p>
          <a:p>
            <a:r>
              <a:rPr lang="en-US" b="1" dirty="0" smtClean="0"/>
              <a:t>Parental permission: </a:t>
            </a:r>
            <a:r>
              <a:rPr lang="en-US" dirty="0" smtClean="0"/>
              <a:t>Art. 8 states that </a:t>
            </a:r>
            <a:r>
              <a:rPr lang="x-none" smtClean="0"/>
              <a:t>the processing of the personal data of a child </a:t>
            </a:r>
            <a:r>
              <a:rPr lang="en-US" dirty="0" smtClean="0"/>
              <a:t>(aged below 16) </a:t>
            </a:r>
            <a:r>
              <a:rPr lang="x-none" smtClean="0"/>
              <a:t>shall be lawful where only if </a:t>
            </a:r>
            <a:r>
              <a:rPr lang="en-US" dirty="0" smtClean="0"/>
              <a:t>the </a:t>
            </a:r>
            <a:r>
              <a:rPr lang="x-none" smtClean="0"/>
              <a:t>consent is given or authorised by the holder of parental responsibility over the child</a:t>
            </a:r>
            <a:r>
              <a:rPr lang="en-US" dirty="0" smtClean="0"/>
              <a:t>. Controller is held responsible for verifying such consent. 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BEE73-6667-4329-BD63-CE78D017756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202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 smtClean="0"/>
              <a:t>ADD option for</a:t>
            </a:r>
            <a:r>
              <a:rPr lang="en-IE" baseline="0" dirty="0" smtClean="0"/>
              <a:t> posteditor access unidentified terminology terms</a:t>
            </a:r>
            <a:endParaRPr lang="en-IE" dirty="0" smtClean="0"/>
          </a:p>
          <a:p>
            <a:endParaRPr lang="en-IE" dirty="0" smtClean="0"/>
          </a:p>
          <a:p>
            <a:r>
              <a:rPr lang="en-IE" dirty="0" smtClean="0"/>
              <a:t>WSD-TrM.A1</a:t>
            </a:r>
          </a:p>
          <a:p>
            <a:endParaRPr lang="en-IE" dirty="0" smtClean="0"/>
          </a:p>
          <a:p>
            <a:r>
              <a:rPr lang="en-IE" dirty="0" smtClean="0"/>
              <a:t>TrM.TeT.A1</a:t>
            </a: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0668AF-2B94-4E04-912D-52D918B7C159}" type="slidenum">
              <a:rPr lang="en-IE" smtClean="0"/>
              <a:pPr/>
              <a:t>9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3566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C675DF-99D0-44C8-83F6-DE91A6F961D6}" type="slidenum">
              <a:rPr lang="en-IE" smtClean="0"/>
              <a:t>1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09396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dapt_PowerPointTitleSlide_Background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456" y="-62999"/>
            <a:ext cx="9252912" cy="6983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408" y="2202497"/>
            <a:ext cx="8395194" cy="882983"/>
          </a:xfrm>
        </p:spPr>
        <p:txBody>
          <a:bodyPr>
            <a:noAutofit/>
          </a:bodyPr>
          <a:lstStyle>
            <a:lvl1pPr algn="l">
              <a:defRPr sz="4400" b="1" i="0">
                <a:solidFill>
                  <a:schemeClr val="tx1"/>
                </a:solidFill>
                <a:latin typeface="FS Truman"/>
                <a:cs typeface="FS Truman"/>
              </a:defRPr>
            </a:lvl1pPr>
          </a:lstStyle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4408" y="3095401"/>
            <a:ext cx="6400800" cy="697359"/>
          </a:xfrm>
        </p:spPr>
        <p:txBody>
          <a:bodyPr>
            <a:normAutofit/>
          </a:bodyPr>
          <a:lstStyle>
            <a:lvl1pPr marL="0" indent="0" algn="l">
              <a:buNone/>
              <a:defRPr sz="2500" b="0" i="0">
                <a:solidFill>
                  <a:srgbClr val="000000"/>
                </a:solidFill>
                <a:latin typeface="FS Truman Light"/>
                <a:cs typeface="FS Truma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5" name="Picture 4" descr="Adapt_Logo_RGB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02" t="13402" r="13402" b="13402"/>
          <a:stretch/>
        </p:blipFill>
        <p:spPr>
          <a:xfrm>
            <a:off x="264160" y="102078"/>
            <a:ext cx="1442720" cy="144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532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dapt_PowerPoint_SlideHeading_Background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000" y="-228371"/>
            <a:ext cx="9396000" cy="97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080" y="0"/>
            <a:ext cx="7398850" cy="740988"/>
          </a:xfrm>
        </p:spPr>
        <p:txBody>
          <a:bodyPr>
            <a:normAutofit/>
          </a:bodyPr>
          <a:lstStyle>
            <a:lvl1pPr>
              <a:defRPr sz="2400" b="1" i="0">
                <a:solidFill>
                  <a:schemeClr val="bg1"/>
                </a:solidFill>
                <a:latin typeface="FS Truman"/>
                <a:cs typeface="Helvetica"/>
              </a:defRPr>
            </a:lvl1pPr>
          </a:lstStyle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088" y="1498689"/>
            <a:ext cx="8229600" cy="3193627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FS Truman"/>
                <a:cs typeface="FS Truman"/>
              </a:defRPr>
            </a:lvl1pPr>
            <a:lvl2pPr marL="457200" indent="0">
              <a:buNone/>
              <a:defRPr sz="2500">
                <a:solidFill>
                  <a:schemeClr val="tx1"/>
                </a:solidFill>
              </a:defRPr>
            </a:lvl2pPr>
            <a:lvl3pPr marL="914400" indent="0">
              <a:buNone/>
              <a:defRPr sz="2300">
                <a:solidFill>
                  <a:schemeClr val="tx1"/>
                </a:solidFill>
              </a:defRPr>
            </a:lvl3pPr>
            <a:lvl4pPr marL="1371600" indent="0">
              <a:buNone/>
              <a:defRPr>
                <a:solidFill>
                  <a:schemeClr val="tx1"/>
                </a:solidFill>
              </a:defRPr>
            </a:lvl4pPr>
            <a:lvl5pPr marL="18288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ga-IE" dirty="0" smtClean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99114" y="6116689"/>
            <a:ext cx="928535" cy="544314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7584282" y="311736"/>
            <a:ext cx="1467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0" i="0" dirty="0" smtClean="0">
                <a:solidFill>
                  <a:schemeClr val="bg1"/>
                </a:solidFill>
                <a:latin typeface="FS Truman Light"/>
                <a:cs typeface="FS Truman Light"/>
              </a:rPr>
              <a:t>www.adaptcentre.ie</a:t>
            </a:r>
            <a:endParaRPr lang="en-US" sz="1000" b="0" i="0" dirty="0">
              <a:solidFill>
                <a:schemeClr val="bg1"/>
              </a:solidFill>
              <a:latin typeface="FS Truman Light"/>
              <a:cs typeface="FS Truman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6643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701" y="425615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ga-IE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701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ga-IE" dirty="0" smtClean="0"/>
              <a:t>Click to edit Master text styles</a:t>
            </a:r>
          </a:p>
          <a:p>
            <a:pPr lvl="1"/>
            <a:r>
              <a:rPr lang="ga-IE" dirty="0" smtClean="0"/>
              <a:t>Second level</a:t>
            </a:r>
          </a:p>
          <a:p>
            <a:pPr lvl="2"/>
            <a:r>
              <a:rPr lang="ga-IE" dirty="0" smtClean="0"/>
              <a:t>Third level</a:t>
            </a:r>
          </a:p>
          <a:p>
            <a:pPr lvl="3"/>
            <a:r>
              <a:rPr lang="ga-IE" dirty="0" smtClean="0"/>
              <a:t>Fourth level</a:t>
            </a:r>
          </a:p>
          <a:p>
            <a:pPr lvl="4"/>
            <a:r>
              <a:rPr lang="ga-IE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417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457200" rtl="0" eaLnBrk="1" latinLnBrk="0" hangingPunct="1">
        <a:spcBef>
          <a:spcPct val="0"/>
        </a:spcBef>
        <a:buNone/>
        <a:defRPr sz="3800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hyperlink" Target="mailto:edge@tcd.ie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slideLayout" Target="../slideLayouts/slideLayout2.xml"/><Relationship Id="rId26" Type="http://schemas.openxmlformats.org/officeDocument/2006/relationships/notesSlide" Target="../notesSlides/notesSlide2.xml"/><Relationship Id="rId27" Type="http://schemas.openxmlformats.org/officeDocument/2006/relationships/diagramData" Target="../diagrams/data3.xml"/><Relationship Id="rId28" Type="http://schemas.openxmlformats.org/officeDocument/2006/relationships/diagramLayout" Target="../diagrams/layout3.xml"/><Relationship Id="rId29" Type="http://schemas.openxmlformats.org/officeDocument/2006/relationships/diagramQuickStyle" Target="../diagrams/quickStyle3.xml"/><Relationship Id="rId30" Type="http://schemas.openxmlformats.org/officeDocument/2006/relationships/diagramColors" Target="../diagrams/colors3.xml"/><Relationship Id="rId31" Type="http://schemas.microsoft.com/office/2007/relationships/diagramDrawing" Target="../diagrams/drawing3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48274" y="1745297"/>
            <a:ext cx="8395194" cy="882983"/>
          </a:xfrm>
        </p:spPr>
        <p:txBody>
          <a:bodyPr/>
          <a:lstStyle/>
          <a:p>
            <a:pPr hangingPunct="0"/>
            <a:r>
              <a:rPr lang="en-US" sz="3200" dirty="0"/>
              <a:t>Compliance through Informed Consent: </a:t>
            </a:r>
            <a:r>
              <a:rPr lang="en-US" sz="2000" dirty="0"/>
              <a:t>Semantic Based Consent Permission and Data Management Model  </a:t>
            </a:r>
            <a:endParaRPr lang="en-GB" sz="2000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638919" y="2861733"/>
            <a:ext cx="6400800" cy="1845734"/>
          </a:xfrm>
        </p:spPr>
        <p:txBody>
          <a:bodyPr>
            <a:normAutofit fontScale="92500" lnSpcReduction="10000"/>
          </a:bodyPr>
          <a:lstStyle/>
          <a:p>
            <a:r>
              <a:rPr lang="en-US" dirty="0" err="1" smtClean="0"/>
              <a:t>Kaniz</a:t>
            </a:r>
            <a:r>
              <a:rPr lang="en-US" dirty="0" smtClean="0"/>
              <a:t> </a:t>
            </a:r>
            <a:r>
              <a:rPr lang="en-US" dirty="0" err="1" smtClean="0"/>
              <a:t>Fatema</a:t>
            </a:r>
            <a:r>
              <a:rPr lang="en-US" dirty="0" smtClean="0"/>
              <a:t>, </a:t>
            </a:r>
            <a:r>
              <a:rPr lang="en-US" dirty="0" err="1" smtClean="0"/>
              <a:t>Ensar</a:t>
            </a:r>
            <a:r>
              <a:rPr lang="en-US" dirty="0" smtClean="0"/>
              <a:t> </a:t>
            </a:r>
            <a:r>
              <a:rPr lang="en-US" dirty="0" err="1" smtClean="0"/>
              <a:t>Hadziselimovic</a:t>
            </a:r>
            <a:r>
              <a:rPr lang="en-US" dirty="0" smtClean="0"/>
              <a:t>, </a:t>
            </a:r>
            <a:r>
              <a:rPr lang="en-US" dirty="0" err="1" smtClean="0"/>
              <a:t>Harshvardhan</a:t>
            </a:r>
            <a:r>
              <a:rPr lang="en-US" dirty="0" smtClean="0"/>
              <a:t> </a:t>
            </a:r>
            <a:r>
              <a:rPr lang="en-US" dirty="0" err="1" smtClean="0"/>
              <a:t>Pandit</a:t>
            </a:r>
            <a:r>
              <a:rPr lang="en-US" dirty="0" smtClean="0"/>
              <a:t>, Christophe </a:t>
            </a:r>
            <a:r>
              <a:rPr lang="en-US" dirty="0" err="1" smtClean="0"/>
              <a:t>Debruyne</a:t>
            </a:r>
            <a:r>
              <a:rPr lang="en-US" dirty="0" smtClean="0"/>
              <a:t>, </a:t>
            </a:r>
            <a:r>
              <a:rPr lang="en-US" u="sng" dirty="0" smtClean="0"/>
              <a:t>Dave Lewis</a:t>
            </a:r>
            <a:r>
              <a:rPr lang="en-US" dirty="0" smtClean="0"/>
              <a:t>, Declan O’Sullivan </a:t>
            </a:r>
          </a:p>
          <a:p>
            <a:endParaRPr lang="en-US" dirty="0" smtClean="0"/>
          </a:p>
          <a:p>
            <a:r>
              <a:rPr lang="en-US" dirty="0" smtClean="0"/>
              <a:t>ADAPT Centre, Trinity </a:t>
            </a:r>
            <a:r>
              <a:rPr lang="en-US" dirty="0" smtClean="0"/>
              <a:t>College Dublin</a:t>
            </a:r>
            <a:endParaRPr lang="en-US" dirty="0"/>
          </a:p>
        </p:txBody>
      </p:sp>
      <p:sp>
        <p:nvSpPr>
          <p:cNvPr id="8" name="Rectangle 4"/>
          <p:cNvSpPr>
            <a:spLocks/>
          </p:cNvSpPr>
          <p:nvPr/>
        </p:nvSpPr>
        <p:spPr bwMode="auto">
          <a:xfrm>
            <a:off x="1253064" y="6568741"/>
            <a:ext cx="8212666" cy="680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63500" tIns="63500" rIns="129359" bIns="63500"/>
          <a:lstStyle/>
          <a:p>
            <a:pPr marL="1588"/>
            <a:r>
              <a:rPr lang="en-US" sz="800" dirty="0">
                <a:solidFill>
                  <a:schemeClr val="bg1"/>
                </a:solidFill>
                <a:latin typeface="FS Truman"/>
                <a:cs typeface="FS Truman"/>
              </a:rPr>
              <a:t>The </a:t>
            </a:r>
            <a:r>
              <a:rPr lang="en-US" sz="800" dirty="0" smtClean="0">
                <a:solidFill>
                  <a:schemeClr val="bg1"/>
                </a:solidFill>
                <a:latin typeface="FS Truman"/>
                <a:cs typeface="FS Truman"/>
              </a:rPr>
              <a:t>ADAPT Centre is </a:t>
            </a:r>
            <a:r>
              <a:rPr lang="en-US" sz="800" dirty="0">
                <a:solidFill>
                  <a:schemeClr val="bg1"/>
                </a:solidFill>
                <a:latin typeface="FS Truman"/>
                <a:cs typeface="FS Truman"/>
              </a:rPr>
              <a:t>funded under the SFI Research </a:t>
            </a:r>
            <a:r>
              <a:rPr lang="en-US" sz="800" dirty="0" err="1">
                <a:solidFill>
                  <a:schemeClr val="bg1"/>
                </a:solidFill>
                <a:latin typeface="FS Truman"/>
                <a:cs typeface="FS Truman"/>
              </a:rPr>
              <a:t>Centres</a:t>
            </a:r>
            <a:r>
              <a:rPr lang="en-US" sz="800" dirty="0">
                <a:solidFill>
                  <a:schemeClr val="bg1"/>
                </a:solidFill>
                <a:latin typeface="FS Truman"/>
                <a:cs typeface="FS Truman"/>
              </a:rPr>
              <a:t> Programme </a:t>
            </a:r>
            <a:r>
              <a:rPr lang="en-US" sz="800" dirty="0" smtClean="0">
                <a:solidFill>
                  <a:schemeClr val="bg1"/>
                </a:solidFill>
                <a:latin typeface="FS Truman"/>
                <a:cs typeface="FS Truman"/>
              </a:rPr>
              <a:t>(</a:t>
            </a:r>
            <a:r>
              <a:rPr lang="en-US" sz="800" dirty="0">
                <a:solidFill>
                  <a:schemeClr val="bg1"/>
                </a:solidFill>
                <a:latin typeface="FS Truman"/>
                <a:cs typeface="FS Truman"/>
              </a:rPr>
              <a:t>Grant 13/RC/2106) and is co-funded under the European Regional Development Fund.</a:t>
            </a:r>
            <a:endParaRPr lang="en-US" sz="800" b="1" dirty="0">
              <a:solidFill>
                <a:schemeClr val="bg1"/>
              </a:solidFill>
              <a:latin typeface="FS Truman"/>
              <a:ea typeface="ヒラギノ角ゴ Pro W3" charset="0"/>
              <a:cs typeface="FS Truman"/>
              <a:sym typeface="Lucida Grande" charset="0"/>
            </a:endParaRPr>
          </a:p>
        </p:txBody>
      </p:sp>
      <p:pic>
        <p:nvPicPr>
          <p:cNvPr id="9" name="Picture 1" descr="ESF Logos_w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171" y="6278627"/>
            <a:ext cx="2597362" cy="274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99420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ent Ontology</a:t>
            </a: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2171"/>
            <a:ext cx="8897257" cy="548639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35466" y="6289302"/>
            <a:ext cx="55541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</a:t>
            </a:r>
            <a:r>
              <a:rPr lang="en-US" dirty="0" err="1"/>
              <a:t>openscience.adaptcentre.ie</a:t>
            </a:r>
            <a:r>
              <a:rPr lang="en-US" dirty="0"/>
              <a:t>/projects/CDMM/</a:t>
            </a:r>
          </a:p>
        </p:txBody>
      </p:sp>
    </p:spTree>
    <p:extLst>
      <p:ext uri="{BB962C8B-B14F-4D97-AF65-F5344CB8AC3E}">
        <p14:creationId xmlns:p14="http://schemas.microsoft.com/office/powerpoint/2010/main" val="3095052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080" y="0"/>
            <a:ext cx="8204234" cy="740988"/>
          </a:xfrm>
        </p:spPr>
        <p:txBody>
          <a:bodyPr>
            <a:normAutofit fontScale="90000"/>
          </a:bodyPr>
          <a:lstStyle/>
          <a:p>
            <a:r>
              <a:rPr lang="en-GB" dirty="0"/>
              <a:t>Annotation of consent with elements of ontology in </a:t>
            </a:r>
            <a:r>
              <a:rPr lang="en-GB" dirty="0" err="1"/>
              <a:t>RDFa</a:t>
            </a:r>
            <a:endParaRPr lang="en-GB" dirty="0"/>
          </a:p>
        </p:txBody>
      </p:sp>
      <p:pic>
        <p:nvPicPr>
          <p:cNvPr id="4" name="Picture 3" descr="Screen Shot 2017-10-22 at 01.39.0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66" y="1507060"/>
            <a:ext cx="8737600" cy="523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37733" y="812800"/>
            <a:ext cx="5356417" cy="369332"/>
          </a:xfrm>
          <a:prstGeom prst="rect">
            <a:avLst/>
          </a:prstGeom>
          <a:solidFill>
            <a:srgbClr val="8EB4E3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 agree that my data will be used for scientific purposes</a:t>
            </a:r>
          </a:p>
        </p:txBody>
      </p:sp>
    </p:spTree>
    <p:extLst>
      <p:ext uri="{BB962C8B-B14F-4D97-AF65-F5344CB8AC3E}">
        <p14:creationId xmlns:p14="http://schemas.microsoft.com/office/powerpoint/2010/main" val="1976448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 </a:t>
            </a:r>
            <a:r>
              <a:rPr lang="en-GB" dirty="0"/>
              <a:t>RDF representation of the annotated </a:t>
            </a:r>
            <a:r>
              <a:rPr lang="en-GB" dirty="0" smtClean="0"/>
              <a:t>XHTML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pic>
        <p:nvPicPr>
          <p:cNvPr id="6" name="Content Placeholder 5" descr="Screen Shot 2017-10-21 at 22.54.52.png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15" b="-507"/>
          <a:stretch/>
        </p:blipFill>
        <p:spPr>
          <a:xfrm>
            <a:off x="344688" y="745068"/>
            <a:ext cx="8229600" cy="6112932"/>
          </a:xfrm>
        </p:spPr>
      </p:pic>
    </p:spTree>
    <p:extLst>
      <p:ext uri="{BB962C8B-B14F-4D97-AF65-F5344CB8AC3E}">
        <p14:creationId xmlns:p14="http://schemas.microsoft.com/office/powerpoint/2010/main" val="42560715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XACML Permission Rule generated using XPARQL</a:t>
            </a:r>
            <a:endParaRPr lang="en-GB" dirty="0"/>
          </a:p>
        </p:txBody>
      </p:sp>
      <p:pic>
        <p:nvPicPr>
          <p:cNvPr id="9" name="Content Placeholder 8" descr="Screen Shot 2017-10-22 at 01.59.00.png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9" r="-2575" b="18912"/>
          <a:stretch/>
        </p:blipFill>
        <p:spPr>
          <a:xfrm>
            <a:off x="0" y="762000"/>
            <a:ext cx="9685866" cy="6400792"/>
          </a:xfrm>
        </p:spPr>
      </p:pic>
    </p:spTree>
    <p:extLst>
      <p:ext uri="{BB962C8B-B14F-4D97-AF65-F5344CB8AC3E}">
        <p14:creationId xmlns:p14="http://schemas.microsoft.com/office/powerpoint/2010/main" val="41383842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 and Further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088" y="1210822"/>
            <a:ext cx="8229600" cy="4580378"/>
          </a:xfrm>
        </p:spPr>
        <p:txBody>
          <a:bodyPr>
            <a:no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 dirty="0" smtClean="0">
                <a:latin typeface="Helvetica"/>
                <a:cs typeface="Helvetica"/>
              </a:rPr>
              <a:t>GDPR implies a </a:t>
            </a:r>
            <a:r>
              <a:rPr lang="en-US" sz="2400" i="1" dirty="0" smtClean="0">
                <a:latin typeface="Helvetica"/>
                <a:cs typeface="Helvetica"/>
              </a:rPr>
              <a:t>full lifecycle management of consent </a:t>
            </a:r>
            <a:r>
              <a:rPr lang="en-US" sz="2400" dirty="0" smtClean="0">
                <a:latin typeface="Helvetica"/>
                <a:cs typeface="Helvetica"/>
              </a:rPr>
              <a:t>that encloses the lifecycle management of personal data</a:t>
            </a:r>
          </a:p>
          <a:p>
            <a:pPr marL="342900" indent="-342900">
              <a:buFont typeface="Arial"/>
              <a:buChar char="•"/>
            </a:pPr>
            <a:r>
              <a:rPr lang="en-US" sz="2400" i="1" dirty="0" smtClean="0">
                <a:latin typeface="Helvetica"/>
                <a:cs typeface="Helvetica"/>
              </a:rPr>
              <a:t>Open </a:t>
            </a:r>
            <a:r>
              <a:rPr lang="en-US" sz="2400" i="1" dirty="0">
                <a:latin typeface="Helvetica"/>
                <a:cs typeface="Helvetica"/>
              </a:rPr>
              <a:t>D</a:t>
            </a:r>
            <a:r>
              <a:rPr lang="en-US" sz="2400" i="1" dirty="0" smtClean="0">
                <a:latin typeface="Helvetica"/>
                <a:cs typeface="Helvetica"/>
              </a:rPr>
              <a:t>ata Formats </a:t>
            </a:r>
            <a:r>
              <a:rPr lang="en-US" sz="2400" dirty="0" smtClean="0">
                <a:latin typeface="Helvetica"/>
                <a:cs typeface="Helvetica"/>
              </a:rPr>
              <a:t>give us the tools to handle Consent as a first class object in Data Protection Management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>
                <a:latin typeface="Helvetica"/>
                <a:cs typeface="Helvetica"/>
              </a:rPr>
              <a:t>Explored the generation of XACML permissions from human readable consent via RDF instance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>
                <a:latin typeface="Helvetica"/>
                <a:cs typeface="Helvetica"/>
              </a:rPr>
              <a:t>Future Work: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 smtClean="0"/>
              <a:t>Assessing generation of access control rules against consent forms and privacy policies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 smtClean="0"/>
              <a:t>Integration with PROV for compliance tracking</a:t>
            </a:r>
          </a:p>
          <a:p>
            <a:pPr marL="800100" lvl="1" indent="-342900">
              <a:buFont typeface="Arial"/>
              <a:buChar char="•"/>
            </a:pPr>
            <a:r>
              <a:rPr lang="en-US" sz="2400" dirty="0" smtClean="0"/>
              <a:t>Integration with ODRL for third party compliance agreem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095527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56811" y="169685"/>
            <a:ext cx="8664450" cy="6166712"/>
            <a:chOff x="256811" y="169685"/>
            <a:chExt cx="8664450" cy="6166712"/>
          </a:xfrm>
        </p:grpSpPr>
        <p:grpSp>
          <p:nvGrpSpPr>
            <p:cNvPr id="11" name="Group 10"/>
            <p:cNvGrpSpPr/>
            <p:nvPr/>
          </p:nvGrpSpPr>
          <p:grpSpPr>
            <a:xfrm>
              <a:off x="256811" y="169685"/>
              <a:ext cx="8664450" cy="6166712"/>
              <a:chOff x="233365" y="439314"/>
              <a:chExt cx="8664450" cy="6166712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233365" y="439314"/>
                <a:ext cx="8664450" cy="6166712"/>
                <a:chOff x="233365" y="439314"/>
                <a:chExt cx="8664450" cy="6166712"/>
              </a:xfrm>
            </p:grpSpPr>
            <p:sp>
              <p:nvSpPr>
                <p:cNvPr id="9" name="Rectangle 8"/>
                <p:cNvSpPr/>
                <p:nvPr/>
              </p:nvSpPr>
              <p:spPr>
                <a:xfrm>
                  <a:off x="5852797" y="2743201"/>
                  <a:ext cx="3045018" cy="3196736"/>
                </a:xfrm>
                <a:prstGeom prst="rect">
                  <a:avLst/>
                </a:prstGeom>
                <a:solidFill>
                  <a:srgbClr val="0F5BA6"/>
                </a:solidFill>
                <a:ln w="3175">
                  <a:solidFill>
                    <a:srgbClr val="0F5BA7"/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IE" dirty="0"/>
                </a:p>
              </p:txBody>
            </p:sp>
            <p:pic>
              <p:nvPicPr>
                <p:cNvPr id="4" name="Picture 3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287022" y="439314"/>
                  <a:ext cx="7001225" cy="4314092"/>
                </a:xfrm>
                <a:prstGeom prst="rect">
                  <a:avLst/>
                </a:prstGeom>
              </p:spPr>
            </p:pic>
            <p:pic>
              <p:nvPicPr>
                <p:cNvPr id="5" name="Picture 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33365" y="4771294"/>
                  <a:ext cx="5619432" cy="1168643"/>
                </a:xfrm>
                <a:prstGeom prst="rect">
                  <a:avLst/>
                </a:prstGeom>
              </p:spPr>
            </p:pic>
            <p:pic>
              <p:nvPicPr>
                <p:cNvPr id="6" name="Picture 5"/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-19876" t="4641" r="-12207"/>
                <a:stretch/>
              </p:blipFill>
              <p:spPr>
                <a:xfrm>
                  <a:off x="233365" y="5943600"/>
                  <a:ext cx="8664449" cy="662426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</p:grpSp>
          <p:sp>
            <p:nvSpPr>
              <p:cNvPr id="8" name="Rectangle 7"/>
              <p:cNvSpPr/>
              <p:nvPr/>
            </p:nvSpPr>
            <p:spPr>
              <a:xfrm>
                <a:off x="7234590" y="457203"/>
                <a:ext cx="1663225" cy="2285998"/>
              </a:xfrm>
              <a:prstGeom prst="rect">
                <a:avLst/>
              </a:prstGeom>
              <a:solidFill>
                <a:srgbClr val="0273B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E" dirty="0"/>
              </a:p>
            </p:txBody>
          </p:sp>
        </p:grpSp>
        <p:sp>
          <p:nvSpPr>
            <p:cNvPr id="7" name="Rectangle 6"/>
            <p:cNvSpPr/>
            <p:nvPr/>
          </p:nvSpPr>
          <p:spPr>
            <a:xfrm>
              <a:off x="625996" y="2325504"/>
              <a:ext cx="8100892" cy="1270083"/>
            </a:xfrm>
            <a:prstGeom prst="rect">
              <a:avLst/>
            </a:prstGeom>
            <a:effectLst>
              <a:outerShdw blurRad="50800" dist="2667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IE" dirty="0"/>
                <a:t>Work with the ADAPT Centre!</a:t>
              </a:r>
            </a:p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IE" dirty="0"/>
                <a:t>2 Year MSCA Postdoc </a:t>
              </a:r>
              <a:r>
                <a:rPr lang="en-IE" dirty="0" smtClean="0"/>
                <a:t>Fellowships Incoming </a:t>
              </a:r>
              <a:r>
                <a:rPr lang="en-IE" dirty="0"/>
                <a:t>to Ireland</a:t>
              </a:r>
            </a:p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en-IE" dirty="0"/>
                <a:t>For info: </a:t>
              </a:r>
              <a:r>
                <a:rPr lang="en-IE" dirty="0">
                  <a:hlinkClick r:id="rId6"/>
                </a:rPr>
                <a:t>edge@tcd.ie</a:t>
              </a:r>
              <a:r>
                <a:rPr lang="en-IE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131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U’s General Data Protection Regulation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86369" y="1575968"/>
            <a:ext cx="5715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2400" dirty="0" smtClean="0"/>
              <a:t>Data </a:t>
            </a:r>
            <a:r>
              <a:rPr lang="en-IE" sz="2400" dirty="0"/>
              <a:t>Protection Directive </a:t>
            </a:r>
            <a:r>
              <a:rPr lang="en-IE" sz="2400" dirty="0" smtClean="0"/>
              <a:t>95/46/EC needed </a:t>
            </a:r>
            <a:r>
              <a:rPr lang="en-IE" sz="2400" dirty="0" smtClean="0"/>
              <a:t>reform </a:t>
            </a:r>
            <a:r>
              <a:rPr lang="en-IE" sz="2400" dirty="0" smtClean="0"/>
              <a:t>to be fit for </a:t>
            </a:r>
            <a:endParaRPr lang="en-IE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sz="2400" dirty="0" smtClean="0"/>
              <a:t>technological </a:t>
            </a:r>
            <a:r>
              <a:rPr lang="en-IE" sz="2400" dirty="0"/>
              <a:t>developments like social networks and cloud computing </a:t>
            </a:r>
            <a:endParaRPr lang="en-IE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sz="2400" dirty="0" smtClean="0"/>
              <a:t>globalisation.</a:t>
            </a:r>
          </a:p>
          <a:p>
            <a:endParaRPr lang="en-IE" sz="2400" dirty="0" smtClean="0"/>
          </a:p>
          <a:p>
            <a:r>
              <a:rPr lang="en-IE" sz="2400" dirty="0" smtClean="0"/>
              <a:t>EU has replaces DPD with General Data Protection Regulation (GDPR)</a:t>
            </a:r>
          </a:p>
          <a:p>
            <a:endParaRPr lang="en-IE" sz="2400" dirty="0"/>
          </a:p>
          <a:p>
            <a:r>
              <a:rPr lang="en-IE" sz="2400" dirty="0" smtClean="0"/>
              <a:t>GDPR </a:t>
            </a:r>
            <a:r>
              <a:rPr lang="en-IE" sz="2400" dirty="0"/>
              <a:t>will have immediate effect on all 28 EU Member States </a:t>
            </a:r>
            <a:r>
              <a:rPr lang="en-IE" sz="2400" dirty="0"/>
              <a:t>o</a:t>
            </a:r>
            <a:r>
              <a:rPr lang="en-IE" sz="2400" dirty="0" smtClean="0"/>
              <a:t>n 25 </a:t>
            </a:r>
            <a:r>
              <a:rPr lang="en-IE" sz="2400" dirty="0" smtClean="0"/>
              <a:t>May 2018. </a:t>
            </a:r>
            <a:endParaRPr lang="en-IE" sz="2400" dirty="0"/>
          </a:p>
          <a:p>
            <a:r>
              <a:rPr lang="en-IE" sz="2400" dirty="0"/>
              <a:t> </a:t>
            </a:r>
            <a:r>
              <a:rPr lang="en-IE" sz="2400" dirty="0" smtClean="0"/>
              <a:t> </a:t>
            </a:r>
            <a:endParaRPr lang="en-IE" sz="2400" dirty="0"/>
          </a:p>
        </p:txBody>
      </p:sp>
      <p:pic>
        <p:nvPicPr>
          <p:cNvPr id="6" name="Picture 2" descr="http://images.clipartpanda.com/rip-clipart-rip-gravestone-m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193" y="1640542"/>
            <a:ext cx="2669315" cy="314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682394" y="3314906"/>
            <a:ext cx="14859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/>
              <a:t>Data Protection Directive 95/46/EC  </a:t>
            </a:r>
          </a:p>
        </p:txBody>
      </p:sp>
    </p:spTree>
    <p:extLst>
      <p:ext uri="{BB962C8B-B14F-4D97-AF65-F5344CB8AC3E}">
        <p14:creationId xmlns:p14="http://schemas.microsoft.com/office/powerpoint/2010/main" val="2079764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GDPR Provisions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0171708"/>
              </p:ext>
            </p:extLst>
          </p:nvPr>
        </p:nvGraphicFramePr>
        <p:xfrm>
          <a:off x="50799" y="1066800"/>
          <a:ext cx="9025467" cy="4978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50863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ubject </a:t>
            </a:r>
            <a:r>
              <a:rPr lang="en-US" dirty="0" err="1" smtClean="0"/>
              <a:t>RIght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5618371"/>
              </p:ext>
            </p:extLst>
          </p:nvPr>
        </p:nvGraphicFramePr>
        <p:xfrm>
          <a:off x="327754" y="931333"/>
          <a:ext cx="8816246" cy="5623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58324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2421466" y="2218256"/>
            <a:ext cx="3285067" cy="4368802"/>
          </a:xfrm>
          <a:prstGeom prst="roundRect">
            <a:avLst>
              <a:gd name="adj" fmla="val 7904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Data Controll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PR Roles and Processes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709334" y="2760124"/>
            <a:ext cx="2743199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mpliance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4148668" y="4317992"/>
            <a:ext cx="1337732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haring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675467" y="4334925"/>
            <a:ext cx="1337732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ing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2709334" y="3522125"/>
            <a:ext cx="2743199" cy="67733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onitor &amp; Control</a:t>
            </a:r>
            <a:endParaRPr lang="en-US" dirty="0"/>
          </a:p>
        </p:txBody>
      </p:sp>
      <p:sp>
        <p:nvSpPr>
          <p:cNvPr id="14" name="Multidocument 13"/>
          <p:cNvSpPr/>
          <p:nvPr/>
        </p:nvSpPr>
        <p:spPr>
          <a:xfrm>
            <a:off x="4250266" y="5130792"/>
            <a:ext cx="1016000" cy="1219200"/>
          </a:xfrm>
          <a:prstGeom prst="flowChartMultidocument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set</a:t>
            </a:r>
          </a:p>
        </p:txBody>
      </p:sp>
      <p:sp>
        <p:nvSpPr>
          <p:cNvPr id="15" name="Chevron 14"/>
          <p:cNvSpPr/>
          <p:nvPr/>
        </p:nvSpPr>
        <p:spPr>
          <a:xfrm>
            <a:off x="2793999" y="5147725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7" name="Chevron 16"/>
          <p:cNvSpPr/>
          <p:nvPr/>
        </p:nvSpPr>
        <p:spPr>
          <a:xfrm>
            <a:off x="2675467" y="5367857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8" name="Chevron 17"/>
          <p:cNvSpPr/>
          <p:nvPr/>
        </p:nvSpPr>
        <p:spPr>
          <a:xfrm>
            <a:off x="2506133" y="5587992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6891867" y="2624659"/>
            <a:ext cx="1371599" cy="2472266"/>
          </a:xfrm>
          <a:prstGeom prst="roundRect">
            <a:avLst>
              <a:gd name="adj" fmla="val 7904"/>
            </a:avLst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Third Party Data Controller</a:t>
            </a:r>
            <a:endParaRPr lang="en-US" dirty="0"/>
          </a:p>
        </p:txBody>
      </p:sp>
      <p:sp>
        <p:nvSpPr>
          <p:cNvPr id="20" name="Right Arrow 19"/>
          <p:cNvSpPr/>
          <p:nvPr/>
        </p:nvSpPr>
        <p:spPr>
          <a:xfrm>
            <a:off x="5655732" y="4267193"/>
            <a:ext cx="1405467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</a:t>
            </a:r>
          </a:p>
        </p:txBody>
      </p:sp>
      <p:sp>
        <p:nvSpPr>
          <p:cNvPr id="21" name="Right Arrow 20"/>
          <p:cNvSpPr/>
          <p:nvPr/>
        </p:nvSpPr>
        <p:spPr>
          <a:xfrm flipH="1">
            <a:off x="5588000" y="2793993"/>
            <a:ext cx="1371600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right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87866" y="2675458"/>
            <a:ext cx="1100667" cy="2472266"/>
          </a:xfrm>
          <a:prstGeom prst="roundRect">
            <a:avLst>
              <a:gd name="adj" fmla="val 7904"/>
            </a:avLst>
          </a:prstGeom>
          <a:solidFill>
            <a:srgbClr val="FF0000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Data Subject</a:t>
            </a:r>
            <a:endParaRPr lang="en-US" dirty="0"/>
          </a:p>
        </p:txBody>
      </p:sp>
      <p:sp>
        <p:nvSpPr>
          <p:cNvPr id="23" name="Right Arrow 22"/>
          <p:cNvSpPr/>
          <p:nvPr/>
        </p:nvSpPr>
        <p:spPr>
          <a:xfrm flipH="1">
            <a:off x="1202267" y="2844793"/>
            <a:ext cx="1371600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rights</a:t>
            </a:r>
          </a:p>
        </p:txBody>
      </p:sp>
      <p:sp>
        <p:nvSpPr>
          <p:cNvPr id="24" name="Right Arrow 23"/>
          <p:cNvSpPr/>
          <p:nvPr/>
        </p:nvSpPr>
        <p:spPr>
          <a:xfrm>
            <a:off x="1202265" y="4368793"/>
            <a:ext cx="1405467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</a:t>
            </a:r>
          </a:p>
        </p:txBody>
      </p:sp>
      <p:sp>
        <p:nvSpPr>
          <p:cNvPr id="25" name="Up Arrow 24"/>
          <p:cNvSpPr/>
          <p:nvPr/>
        </p:nvSpPr>
        <p:spPr>
          <a:xfrm>
            <a:off x="3471334" y="1557867"/>
            <a:ext cx="1100666" cy="592667"/>
          </a:xfrm>
          <a:prstGeom prst="up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6" name="Rounded Rectangle 25"/>
          <p:cNvSpPr/>
          <p:nvPr/>
        </p:nvSpPr>
        <p:spPr>
          <a:xfrm>
            <a:off x="2455332" y="812791"/>
            <a:ext cx="3369735" cy="694276"/>
          </a:xfrm>
          <a:prstGeom prst="roundRect">
            <a:avLst>
              <a:gd name="adj" fmla="val 7904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Supervisory Authority</a:t>
            </a:r>
            <a:endParaRPr lang="en-US" dirty="0"/>
          </a:p>
        </p:txBody>
      </p:sp>
      <p:sp>
        <p:nvSpPr>
          <p:cNvPr id="27" name="Bent Arrow 26"/>
          <p:cNvSpPr/>
          <p:nvPr/>
        </p:nvSpPr>
        <p:spPr>
          <a:xfrm>
            <a:off x="677333" y="931333"/>
            <a:ext cx="1676400" cy="1591734"/>
          </a:xfrm>
          <a:prstGeom prst="bentArrow">
            <a:avLst>
              <a:gd name="adj1" fmla="val 10106"/>
              <a:gd name="adj2" fmla="val 11702"/>
              <a:gd name="adj3" fmla="val 20745"/>
              <a:gd name="adj4" fmla="val 43750"/>
            </a:avLst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65200" y="1422400"/>
            <a:ext cx="1215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lai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074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Up-Down Arrow 32"/>
          <p:cNvSpPr/>
          <p:nvPr/>
        </p:nvSpPr>
        <p:spPr>
          <a:xfrm rot="16200000">
            <a:off x="5334002" y="2861733"/>
            <a:ext cx="1981200" cy="592667"/>
          </a:xfrm>
          <a:prstGeom prst="upDownArrow">
            <a:avLst>
              <a:gd name="adj1" fmla="val 51709"/>
              <a:gd name="adj2" fmla="val 50000"/>
            </a:avLst>
          </a:prstGeom>
          <a:solidFill>
            <a:srgbClr val="6600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2" name="Up-Down Arrow 31"/>
          <p:cNvSpPr/>
          <p:nvPr/>
        </p:nvSpPr>
        <p:spPr>
          <a:xfrm rot="16200000">
            <a:off x="982134" y="2844800"/>
            <a:ext cx="1981200" cy="592667"/>
          </a:xfrm>
          <a:prstGeom prst="upDownArrow">
            <a:avLst>
              <a:gd name="adj1" fmla="val 51709"/>
              <a:gd name="adj2" fmla="val 50000"/>
            </a:avLst>
          </a:prstGeom>
          <a:solidFill>
            <a:srgbClr val="6600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7" name="Rounded Rectangle 6"/>
          <p:cNvSpPr/>
          <p:nvPr/>
        </p:nvSpPr>
        <p:spPr>
          <a:xfrm>
            <a:off x="2421466" y="2218256"/>
            <a:ext cx="3285067" cy="4368802"/>
          </a:xfrm>
          <a:prstGeom prst="roundRect">
            <a:avLst>
              <a:gd name="adj" fmla="val 7904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Data Controll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PR Roles and Open Data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709334" y="2760124"/>
            <a:ext cx="2743199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mpliance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4148668" y="4317992"/>
            <a:ext cx="1337732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haring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675467" y="4334925"/>
            <a:ext cx="1337732" cy="677333"/>
          </a:xfrm>
          <a:prstGeom prst="roundRect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ing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2709334" y="3522125"/>
            <a:ext cx="2743199" cy="677333"/>
          </a:xfrm>
          <a:prstGeom prst="roundRect">
            <a:avLst/>
          </a:prstGeom>
          <a:solidFill>
            <a:srgbClr val="B3A2C7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onitor &amp; Control</a:t>
            </a:r>
            <a:endParaRPr lang="en-US" dirty="0"/>
          </a:p>
        </p:txBody>
      </p:sp>
      <p:sp>
        <p:nvSpPr>
          <p:cNvPr id="14" name="Multidocument 13"/>
          <p:cNvSpPr/>
          <p:nvPr/>
        </p:nvSpPr>
        <p:spPr>
          <a:xfrm>
            <a:off x="4250266" y="5130792"/>
            <a:ext cx="1016000" cy="1219200"/>
          </a:xfrm>
          <a:prstGeom prst="flowChartMultidocument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set</a:t>
            </a:r>
          </a:p>
        </p:txBody>
      </p:sp>
      <p:sp>
        <p:nvSpPr>
          <p:cNvPr id="15" name="Chevron 14"/>
          <p:cNvSpPr/>
          <p:nvPr/>
        </p:nvSpPr>
        <p:spPr>
          <a:xfrm>
            <a:off x="2793999" y="5147725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7" name="Chevron 16"/>
          <p:cNvSpPr/>
          <p:nvPr/>
        </p:nvSpPr>
        <p:spPr>
          <a:xfrm>
            <a:off x="2675467" y="5367857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8" name="Chevron 17"/>
          <p:cNvSpPr/>
          <p:nvPr/>
        </p:nvSpPr>
        <p:spPr>
          <a:xfrm>
            <a:off x="2506133" y="5587992"/>
            <a:ext cx="1371600" cy="626533"/>
          </a:xfrm>
          <a:prstGeom prst="chevron">
            <a:avLst/>
          </a:prstGeom>
          <a:solidFill>
            <a:srgbClr val="0E73B9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6891868" y="2624659"/>
            <a:ext cx="1320800" cy="2472266"/>
          </a:xfrm>
          <a:prstGeom prst="roundRect">
            <a:avLst>
              <a:gd name="adj" fmla="val 7904"/>
            </a:avLst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Third Party Data Controller</a:t>
            </a:r>
            <a:endParaRPr lang="en-US" dirty="0"/>
          </a:p>
        </p:txBody>
      </p:sp>
      <p:sp>
        <p:nvSpPr>
          <p:cNvPr id="20" name="Right Arrow 19"/>
          <p:cNvSpPr/>
          <p:nvPr/>
        </p:nvSpPr>
        <p:spPr>
          <a:xfrm>
            <a:off x="5655732" y="4267193"/>
            <a:ext cx="1405467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</a:t>
            </a:r>
          </a:p>
        </p:txBody>
      </p:sp>
      <p:sp>
        <p:nvSpPr>
          <p:cNvPr id="21" name="Right Arrow 20"/>
          <p:cNvSpPr/>
          <p:nvPr/>
        </p:nvSpPr>
        <p:spPr>
          <a:xfrm flipH="1">
            <a:off x="5588000" y="2793993"/>
            <a:ext cx="1371600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right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87866" y="2675458"/>
            <a:ext cx="1100667" cy="2472266"/>
          </a:xfrm>
          <a:prstGeom prst="roundRect">
            <a:avLst>
              <a:gd name="adj" fmla="val 7904"/>
            </a:avLst>
          </a:prstGeom>
          <a:solidFill>
            <a:srgbClr val="FF0000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Data Subject</a:t>
            </a:r>
            <a:endParaRPr lang="en-US" dirty="0"/>
          </a:p>
        </p:txBody>
      </p:sp>
      <p:sp>
        <p:nvSpPr>
          <p:cNvPr id="23" name="Right Arrow 22"/>
          <p:cNvSpPr/>
          <p:nvPr/>
        </p:nvSpPr>
        <p:spPr>
          <a:xfrm flipH="1">
            <a:off x="1202267" y="2844793"/>
            <a:ext cx="1371600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rights</a:t>
            </a:r>
          </a:p>
        </p:txBody>
      </p:sp>
      <p:sp>
        <p:nvSpPr>
          <p:cNvPr id="24" name="Right Arrow 23"/>
          <p:cNvSpPr/>
          <p:nvPr/>
        </p:nvSpPr>
        <p:spPr>
          <a:xfrm>
            <a:off x="1202265" y="4368793"/>
            <a:ext cx="1405467" cy="609600"/>
          </a:xfrm>
          <a:prstGeom prst="right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/>
              <a:t>data</a:t>
            </a:r>
          </a:p>
        </p:txBody>
      </p:sp>
      <p:sp>
        <p:nvSpPr>
          <p:cNvPr id="25" name="Up Arrow 24"/>
          <p:cNvSpPr/>
          <p:nvPr/>
        </p:nvSpPr>
        <p:spPr>
          <a:xfrm>
            <a:off x="3471334" y="1557867"/>
            <a:ext cx="1100666" cy="592667"/>
          </a:xfrm>
          <a:prstGeom prst="upArrow">
            <a:avLst/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6" name="Rounded Rectangle 25"/>
          <p:cNvSpPr/>
          <p:nvPr/>
        </p:nvSpPr>
        <p:spPr>
          <a:xfrm>
            <a:off x="2455332" y="812791"/>
            <a:ext cx="3369735" cy="694276"/>
          </a:xfrm>
          <a:prstGeom prst="roundRect">
            <a:avLst>
              <a:gd name="adj" fmla="val 7904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Supervisory Authority</a:t>
            </a:r>
            <a:endParaRPr lang="en-US" dirty="0"/>
          </a:p>
        </p:txBody>
      </p:sp>
      <p:sp>
        <p:nvSpPr>
          <p:cNvPr id="27" name="Bent Arrow 26"/>
          <p:cNvSpPr/>
          <p:nvPr/>
        </p:nvSpPr>
        <p:spPr>
          <a:xfrm>
            <a:off x="677333" y="931333"/>
            <a:ext cx="1676400" cy="1591734"/>
          </a:xfrm>
          <a:prstGeom prst="bentArrow">
            <a:avLst>
              <a:gd name="adj1" fmla="val 10106"/>
              <a:gd name="adj2" fmla="val 11702"/>
              <a:gd name="adj3" fmla="val 20745"/>
              <a:gd name="adj4" fmla="val 43750"/>
            </a:avLst>
          </a:prstGeom>
          <a:solidFill>
            <a:srgbClr val="0E73B9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65200" y="1422400"/>
            <a:ext cx="1215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laints</a:t>
            </a:r>
            <a:endParaRPr lang="en-US" dirty="0"/>
          </a:p>
        </p:txBody>
      </p:sp>
      <p:sp>
        <p:nvSpPr>
          <p:cNvPr id="30" name="Up-Down Arrow 29"/>
          <p:cNvSpPr/>
          <p:nvPr/>
        </p:nvSpPr>
        <p:spPr>
          <a:xfrm>
            <a:off x="3098800" y="3183467"/>
            <a:ext cx="1981200" cy="592667"/>
          </a:xfrm>
          <a:prstGeom prst="upDownArrow">
            <a:avLst>
              <a:gd name="adj1" fmla="val 51709"/>
              <a:gd name="adj2" fmla="val 50000"/>
            </a:avLst>
          </a:prstGeom>
          <a:solidFill>
            <a:srgbClr val="6600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1" name="Up-Down Arrow 30"/>
          <p:cNvSpPr/>
          <p:nvPr/>
        </p:nvSpPr>
        <p:spPr>
          <a:xfrm>
            <a:off x="3081866" y="3962401"/>
            <a:ext cx="1981200" cy="592667"/>
          </a:xfrm>
          <a:prstGeom prst="upDownArrow">
            <a:avLst>
              <a:gd name="adj1" fmla="val 51709"/>
              <a:gd name="adj2" fmla="val 50000"/>
            </a:avLst>
          </a:prstGeom>
          <a:solidFill>
            <a:srgbClr val="6600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" name="Up-Down Arrow 33"/>
          <p:cNvSpPr/>
          <p:nvPr/>
        </p:nvSpPr>
        <p:spPr>
          <a:xfrm>
            <a:off x="3014134" y="1862667"/>
            <a:ext cx="1981200" cy="592667"/>
          </a:xfrm>
          <a:prstGeom prst="upDownArrow">
            <a:avLst>
              <a:gd name="adj1" fmla="val 51709"/>
              <a:gd name="adj2" fmla="val 50000"/>
            </a:avLst>
          </a:prstGeom>
          <a:solidFill>
            <a:srgbClr val="660066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6231468" y="880533"/>
            <a:ext cx="26246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660066"/>
                </a:solidFill>
              </a:rPr>
              <a:t>Major New Open Data  Business Cases</a:t>
            </a:r>
            <a:endParaRPr lang="en-US" sz="2800" b="1" dirty="0">
              <a:solidFill>
                <a:srgbClr val="66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68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 smtClean="0"/>
              <a:t>Requirements for Consent </a:t>
            </a:r>
            <a:endParaRPr lang="en-GB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4988" y="1699046"/>
            <a:ext cx="3960612" cy="4109087"/>
          </a:xfrm>
        </p:spPr>
        <p:txBody>
          <a:bodyPr>
            <a:normAutofit/>
          </a:bodyPr>
          <a:lstStyle/>
          <a:p>
            <a:r>
              <a:rPr lang="en-US" dirty="0"/>
              <a:t>To be considered as a valid </a:t>
            </a:r>
            <a:r>
              <a:rPr lang="en-US" dirty="0" smtClean="0"/>
              <a:t>one</a:t>
            </a:r>
          </a:p>
          <a:p>
            <a:r>
              <a:rPr lang="en-US" dirty="0" smtClean="0"/>
              <a:t> </a:t>
            </a:r>
            <a:r>
              <a:rPr lang="en-US" dirty="0"/>
              <a:t>the consent should be: </a:t>
            </a:r>
            <a:endParaRPr lang="en-GB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/>
              <a:t>Freely </a:t>
            </a:r>
            <a:r>
              <a:rPr lang="en-US" b="1" dirty="0" smtClean="0"/>
              <a:t>given</a:t>
            </a: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Specific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Informed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Unambiguou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Parental </a:t>
            </a:r>
            <a:r>
              <a:rPr lang="en-US" b="1" dirty="0" smtClean="0"/>
              <a:t>permiss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b="1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b="1" dirty="0" smtClean="0"/>
              <a:t>If purpose or recipients change new consent must be sought</a:t>
            </a:r>
            <a:endParaRPr lang="en-GB" dirty="0"/>
          </a:p>
        </p:txBody>
      </p:sp>
      <p:pic>
        <p:nvPicPr>
          <p:cNvPr id="1028" name="Picture 4" descr="Image result for consen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496" y="4008435"/>
            <a:ext cx="5141504" cy="176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410075" y="1247775"/>
            <a:ext cx="4509242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ilence ≠ Consent</a:t>
            </a:r>
            <a:endParaRPr 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520897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ed Rectangle 26"/>
          <p:cNvSpPr/>
          <p:nvPr/>
        </p:nvSpPr>
        <p:spPr>
          <a:xfrm>
            <a:off x="238541" y="3892324"/>
            <a:ext cx="8768603" cy="1510747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Rectangle 3"/>
          <p:cNvSpPr/>
          <p:nvPr/>
        </p:nvSpPr>
        <p:spPr>
          <a:xfrm>
            <a:off x="530089" y="4435663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" name="Rectangle 4"/>
          <p:cNvSpPr/>
          <p:nvPr/>
        </p:nvSpPr>
        <p:spPr>
          <a:xfrm>
            <a:off x="1749289" y="4435663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6" name="Rectangle 5"/>
          <p:cNvSpPr/>
          <p:nvPr/>
        </p:nvSpPr>
        <p:spPr>
          <a:xfrm>
            <a:off x="2968489" y="4435663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7" name="Rectangle 6"/>
          <p:cNvSpPr/>
          <p:nvPr/>
        </p:nvSpPr>
        <p:spPr>
          <a:xfrm>
            <a:off x="4187689" y="4435663"/>
            <a:ext cx="1078008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8" name="Rectangle 7"/>
          <p:cNvSpPr/>
          <p:nvPr/>
        </p:nvSpPr>
        <p:spPr>
          <a:xfrm>
            <a:off x="5406889" y="4435663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9" name="Rectangle 8"/>
          <p:cNvSpPr/>
          <p:nvPr/>
        </p:nvSpPr>
        <p:spPr>
          <a:xfrm>
            <a:off x="6626089" y="4435663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0" name="Rectangle 9"/>
          <p:cNvSpPr/>
          <p:nvPr/>
        </p:nvSpPr>
        <p:spPr>
          <a:xfrm>
            <a:off x="7845289" y="4430168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11" name="TextBox 10"/>
          <p:cNvSpPr txBox="1"/>
          <p:nvPr/>
        </p:nvSpPr>
        <p:spPr>
          <a:xfrm>
            <a:off x="567640" y="4430168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1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6543" y="4750650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 Collection</a:t>
            </a:r>
            <a:endParaRPr lang="en-GB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796404" y="4430168"/>
            <a:ext cx="1367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 2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96404" y="4731623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 Storage</a:t>
            </a:r>
            <a:endParaRPr lang="en-GB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034026" y="4731623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 Process</a:t>
            </a:r>
            <a:endParaRPr lang="en-GB" sz="16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3038153" y="4430168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3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42057" y="4430168"/>
            <a:ext cx="1441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4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094277" y="4738676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Modification</a:t>
            </a:r>
            <a:endParaRPr lang="en-GB" sz="16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5452521" y="4405391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5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388174" y="4705473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Revocation</a:t>
            </a:r>
            <a:endParaRPr lang="en-GB" sz="16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671721" y="4405391"/>
            <a:ext cx="1383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6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38363" y="4731623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Archive</a:t>
            </a:r>
            <a:endParaRPr lang="en-GB" sz="16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7918907" y="4409187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7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16151" y="4694017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Destruction</a:t>
            </a:r>
            <a:endParaRPr lang="en-GB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23662" y="3874053"/>
            <a:ext cx="3397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/>
              <a:t>Consent Lifecycle </a:t>
            </a:r>
          </a:p>
          <a:p>
            <a:endParaRPr lang="en-GB" sz="2400" b="1" dirty="0"/>
          </a:p>
        </p:txBody>
      </p:sp>
      <p:sp>
        <p:nvSpPr>
          <p:cNvPr id="29" name="Rounded Rectangle 28"/>
          <p:cNvSpPr/>
          <p:nvPr/>
        </p:nvSpPr>
        <p:spPr>
          <a:xfrm>
            <a:off x="241582" y="1949295"/>
            <a:ext cx="8768603" cy="1510747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0" name="Rectangle 29"/>
          <p:cNvSpPr/>
          <p:nvPr/>
        </p:nvSpPr>
        <p:spPr>
          <a:xfrm>
            <a:off x="533130" y="2492634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1" name="Rectangle 30"/>
          <p:cNvSpPr/>
          <p:nvPr/>
        </p:nvSpPr>
        <p:spPr>
          <a:xfrm>
            <a:off x="1752330" y="2492634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2" name="Rectangle 31"/>
          <p:cNvSpPr/>
          <p:nvPr/>
        </p:nvSpPr>
        <p:spPr>
          <a:xfrm>
            <a:off x="2971530" y="2492634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3" name="Rectangle 32"/>
          <p:cNvSpPr/>
          <p:nvPr/>
        </p:nvSpPr>
        <p:spPr>
          <a:xfrm>
            <a:off x="4190730" y="2492634"/>
            <a:ext cx="1078008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4" name="Rectangle 33"/>
          <p:cNvSpPr/>
          <p:nvPr/>
        </p:nvSpPr>
        <p:spPr>
          <a:xfrm>
            <a:off x="5409930" y="2492634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5" name="Rectangle 34"/>
          <p:cNvSpPr/>
          <p:nvPr/>
        </p:nvSpPr>
        <p:spPr>
          <a:xfrm>
            <a:off x="6629130" y="2492634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6" name="Rectangle 35"/>
          <p:cNvSpPr/>
          <p:nvPr/>
        </p:nvSpPr>
        <p:spPr>
          <a:xfrm>
            <a:off x="7848330" y="2487139"/>
            <a:ext cx="1032376" cy="590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37" name="TextBox 36"/>
          <p:cNvSpPr txBox="1"/>
          <p:nvPr/>
        </p:nvSpPr>
        <p:spPr>
          <a:xfrm>
            <a:off x="570681" y="2487139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1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29584" y="2807621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 Generation</a:t>
            </a:r>
            <a:endParaRPr lang="en-GB" sz="16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799445" y="2487139"/>
            <a:ext cx="1367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 2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041194" y="2487139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3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145098" y="2487139"/>
            <a:ext cx="1441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4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455562" y="2462362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5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674762" y="2462362"/>
            <a:ext cx="1383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6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741404" y="2788594"/>
            <a:ext cx="1632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Archive</a:t>
            </a:r>
            <a:endParaRPr lang="en-GB" sz="16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7921948" y="2466158"/>
            <a:ext cx="1088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Phase 7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26703" y="1931024"/>
            <a:ext cx="3397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/>
              <a:t>Data Lifecycle </a:t>
            </a:r>
          </a:p>
          <a:p>
            <a:endParaRPr lang="en-GB" sz="24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1808722" y="2795647"/>
            <a:ext cx="1042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Transfer</a:t>
            </a:r>
            <a:endParaRPr lang="en-GB" sz="16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3199500" y="2772477"/>
            <a:ext cx="1042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Use</a:t>
            </a:r>
            <a:endParaRPr lang="en-GB" sz="16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4272165" y="2778136"/>
            <a:ext cx="1042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Share</a:t>
            </a:r>
            <a:endParaRPr lang="en-GB" sz="16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5564109" y="2762021"/>
            <a:ext cx="1042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Storage</a:t>
            </a:r>
            <a:endParaRPr lang="en-GB" sz="16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7747265" y="2736608"/>
            <a:ext cx="14034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Destruction</a:t>
            </a:r>
            <a:endParaRPr lang="en-GB" sz="1600" b="1" dirty="0"/>
          </a:p>
        </p:txBody>
      </p:sp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243080" y="0"/>
            <a:ext cx="7398850" cy="740988"/>
          </a:xfrm>
        </p:spPr>
        <p:txBody>
          <a:bodyPr/>
          <a:lstStyle/>
          <a:p>
            <a:r>
              <a:rPr lang="en-GB" dirty="0" smtClean="0"/>
              <a:t>Data </a:t>
            </a:r>
            <a:r>
              <a:rPr lang="en-GB" dirty="0" smtClean="0"/>
              <a:t>vs.</a:t>
            </a:r>
            <a:r>
              <a:rPr lang="en-GB" dirty="0" smtClean="0"/>
              <a:t> </a:t>
            </a:r>
            <a:r>
              <a:rPr lang="en-GB" dirty="0" smtClean="0"/>
              <a:t>Consent Lifecycle</a:t>
            </a:r>
            <a:endParaRPr lang="en-GB" dirty="0"/>
          </a:p>
        </p:txBody>
      </p:sp>
      <p:sp>
        <p:nvSpPr>
          <p:cNvPr id="2" name="Trapezoid 1"/>
          <p:cNvSpPr/>
          <p:nvPr/>
        </p:nvSpPr>
        <p:spPr>
          <a:xfrm flipV="1">
            <a:off x="524934" y="3200398"/>
            <a:ext cx="8195733" cy="1185332"/>
          </a:xfrm>
          <a:prstGeom prst="trapezoid">
            <a:avLst>
              <a:gd name="adj" fmla="val 200715"/>
            </a:avLst>
          </a:prstGeom>
          <a:solidFill>
            <a:srgbClr val="0E73B9">
              <a:alpha val="39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742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Diagram 43"/>
          <p:cNvGraphicFramePr/>
          <p:nvPr>
            <p:extLst>
              <p:ext uri="{D42A27DB-BD31-4B8C-83A1-F6EECF244321}">
                <p14:modId xmlns:p14="http://schemas.microsoft.com/office/powerpoint/2010/main" val="1629030148"/>
              </p:ext>
            </p:extLst>
          </p:nvPr>
        </p:nvGraphicFramePr>
        <p:xfrm>
          <a:off x="1168402" y="430953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sp>
        <p:nvSpPr>
          <p:cNvPr id="40" name="Rectangle 39"/>
          <p:cNvSpPr/>
          <p:nvPr/>
        </p:nvSpPr>
        <p:spPr>
          <a:xfrm>
            <a:off x="0" y="728135"/>
            <a:ext cx="9144000" cy="389466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00" name="AutoShape 17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04031" y="1100668"/>
            <a:ext cx="1670243" cy="2965870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b">
            <a:prstTxWarp prst="textNoShape">
              <a:avLst/>
            </a:prstTxWarp>
            <a:normAutofit/>
          </a:bodyPr>
          <a:lstStyle/>
          <a:p>
            <a:pPr algn="ctr" defTabSz="957263"/>
            <a:endParaRPr lang="de-DE" sz="1100" b="1" dirty="0"/>
          </a:p>
        </p:txBody>
      </p:sp>
      <p:sp>
        <p:nvSpPr>
          <p:cNvPr id="27" name="Oval 2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0473" y="2650291"/>
            <a:ext cx="146051" cy="156249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67" name="Straight Arrow Connector 66"/>
          <p:cNvCxnSpPr>
            <a:stCxn id="27" idx="6"/>
            <a:endCxn id="116" idx="1"/>
          </p:cNvCxnSpPr>
          <p:nvPr/>
        </p:nvCxnSpPr>
        <p:spPr>
          <a:xfrm flipV="1">
            <a:off x="236524" y="2715016"/>
            <a:ext cx="272062" cy="13400"/>
          </a:xfrm>
          <a:prstGeom prst="straightConnector1">
            <a:avLst/>
          </a:prstGeom>
          <a:ln w="15875">
            <a:solidFill>
              <a:srgbClr val="00000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41"/>
          <p:cNvCxnSpPr>
            <a:stCxn id="352" idx="2"/>
            <a:endCxn id="186" idx="2"/>
          </p:cNvCxnSpPr>
          <p:nvPr/>
        </p:nvCxnSpPr>
        <p:spPr>
          <a:xfrm rot="5400000">
            <a:off x="4277728" y="1089332"/>
            <a:ext cx="1179201" cy="4550764"/>
          </a:xfrm>
          <a:prstGeom prst="bentConnector3">
            <a:avLst>
              <a:gd name="adj1" fmla="val 119386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3654798" y="2142328"/>
            <a:ext cx="2534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100" dirty="0"/>
              <a:t>Y</a:t>
            </a:r>
          </a:p>
        </p:txBody>
      </p:sp>
      <p:cxnSp>
        <p:nvCxnSpPr>
          <p:cNvPr id="227" name="Straight Arrow Connector 226"/>
          <p:cNvCxnSpPr/>
          <p:nvPr/>
        </p:nvCxnSpPr>
        <p:spPr>
          <a:xfrm>
            <a:off x="1462646" y="2453130"/>
            <a:ext cx="369333" cy="0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/>
          <p:cNvCxnSpPr>
            <a:stCxn id="332" idx="3"/>
          </p:cNvCxnSpPr>
          <p:nvPr/>
        </p:nvCxnSpPr>
        <p:spPr>
          <a:xfrm flipV="1">
            <a:off x="6768099" y="2685899"/>
            <a:ext cx="257929" cy="4470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2" name="AutoShape 17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70800" y="2198244"/>
            <a:ext cx="777716" cy="623064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100" dirty="0"/>
              <a:t>C</a:t>
            </a:r>
            <a:r>
              <a:rPr lang="de-DE" sz="1100" dirty="0" smtClean="0"/>
              <a:t>heck Consent Permission 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6899324" y="2271725"/>
            <a:ext cx="2534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100" dirty="0"/>
              <a:t>Y</a:t>
            </a:r>
          </a:p>
        </p:txBody>
      </p:sp>
      <p:sp>
        <p:nvSpPr>
          <p:cNvPr id="289" name="TextBox 288"/>
          <p:cNvSpPr txBox="1"/>
          <p:nvPr/>
        </p:nvSpPr>
        <p:spPr>
          <a:xfrm>
            <a:off x="7221689" y="2727960"/>
            <a:ext cx="2715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050" dirty="0"/>
              <a:t>N</a:t>
            </a:r>
          </a:p>
        </p:txBody>
      </p:sp>
      <p:sp>
        <p:nvSpPr>
          <p:cNvPr id="116" name="AutoShape 17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8586" y="2183694"/>
            <a:ext cx="992973" cy="1062643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600" b="1" dirty="0" smtClean="0"/>
              <a:t>User </a:t>
            </a:r>
            <a:r>
              <a:rPr lang="de-DE" sz="1600" b="1" dirty="0" err="1" smtClean="0"/>
              <a:t>Interac-</a:t>
            </a:r>
            <a:r>
              <a:rPr lang="de-DE" sz="1600" b="1" dirty="0" err="1" smtClean="0"/>
              <a:t>tion</a:t>
            </a:r>
            <a:endParaRPr lang="de-DE" sz="1600" b="1" dirty="0"/>
          </a:p>
        </p:txBody>
      </p:sp>
      <p:sp>
        <p:nvSpPr>
          <p:cNvPr id="180" name="AutoShape 17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30674" y="3262801"/>
            <a:ext cx="956186" cy="818198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000" dirty="0" smtClean="0"/>
              <a:t>Archive </a:t>
            </a:r>
            <a:r>
              <a:rPr lang="de-DE" sz="1000" dirty="0" err="1" smtClean="0"/>
              <a:t>consent</a:t>
            </a:r>
            <a:r>
              <a:rPr lang="de-DE" sz="1000" dirty="0" smtClean="0"/>
              <a:t> </a:t>
            </a:r>
            <a:r>
              <a:rPr lang="de-DE" sz="1000" dirty="0" err="1" smtClean="0"/>
              <a:t>and</a:t>
            </a:r>
            <a:r>
              <a:rPr lang="de-DE" sz="1000" dirty="0" smtClean="0"/>
              <a:t> </a:t>
            </a:r>
            <a:r>
              <a:rPr lang="de-DE" sz="1000" dirty="0" err="1" smtClean="0"/>
              <a:t>processing</a:t>
            </a:r>
            <a:r>
              <a:rPr lang="de-DE" sz="1000" dirty="0" smtClean="0"/>
              <a:t> </a:t>
            </a:r>
            <a:r>
              <a:rPr lang="de-DE" sz="1000" dirty="0" err="1" smtClean="0"/>
              <a:t>proveance</a:t>
            </a:r>
            <a:r>
              <a:rPr lang="de-DE" sz="1000" dirty="0" smtClean="0"/>
              <a:t> </a:t>
            </a:r>
            <a:r>
              <a:rPr lang="de-DE" sz="1000" dirty="0" err="1" smtClean="0"/>
              <a:t>metadata</a:t>
            </a:r>
            <a:endParaRPr lang="de-DE" sz="1000" dirty="0"/>
          </a:p>
        </p:txBody>
      </p:sp>
      <p:cxnSp>
        <p:nvCxnSpPr>
          <p:cNvPr id="315" name="Straight Arrow Connector 314"/>
          <p:cNvCxnSpPr>
            <a:stCxn id="186" idx="3"/>
            <a:endCxn id="182" idx="1"/>
          </p:cNvCxnSpPr>
          <p:nvPr/>
        </p:nvCxnSpPr>
        <p:spPr>
          <a:xfrm flipV="1">
            <a:off x="3386667" y="2510480"/>
            <a:ext cx="416299" cy="17014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9" name="Group 58"/>
          <p:cNvGrpSpPr/>
          <p:nvPr/>
        </p:nvGrpSpPr>
        <p:grpSpPr>
          <a:xfrm>
            <a:off x="5374927" y="1610681"/>
            <a:ext cx="1393172" cy="2173213"/>
            <a:chOff x="4879858" y="1608481"/>
            <a:chExt cx="1393172" cy="2173213"/>
          </a:xfrm>
        </p:grpSpPr>
        <p:cxnSp>
          <p:nvCxnSpPr>
            <p:cNvPr id="139" name="Straight Arrow Connector 138"/>
            <p:cNvCxnSpPr>
              <a:endCxn id="179" idx="1"/>
            </p:cNvCxnSpPr>
            <p:nvPr/>
          </p:nvCxnSpPr>
          <p:spPr>
            <a:xfrm flipV="1">
              <a:off x="4956848" y="2854791"/>
              <a:ext cx="266073" cy="220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AutoShape 17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222921" y="2738012"/>
              <a:ext cx="735204" cy="233557"/>
            </a:xfrm>
            <a:prstGeom prst="flowChartAlternateProcess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5782" tIns="47891" rIns="95782" bIns="47891" anchor="ctr">
              <a:prstTxWarp prst="textNoShape">
                <a:avLst/>
              </a:prstTxWarp>
              <a:noAutofit/>
            </a:bodyPr>
            <a:lstStyle/>
            <a:p>
              <a:pPr algn="ctr" defTabSz="957263"/>
              <a:r>
                <a:rPr lang="de-DE" sz="1000" dirty="0" smtClean="0"/>
                <a:t>Archive</a:t>
              </a:r>
              <a:endParaRPr lang="de-DE" sz="1000" dirty="0"/>
            </a:p>
          </p:txBody>
        </p:sp>
        <p:cxnSp>
          <p:nvCxnSpPr>
            <p:cNvPr id="223" name="Straight Arrow Connector 222"/>
            <p:cNvCxnSpPr>
              <a:endCxn id="294" idx="1"/>
            </p:cNvCxnSpPr>
            <p:nvPr/>
          </p:nvCxnSpPr>
          <p:spPr>
            <a:xfrm flipV="1">
              <a:off x="4938249" y="3659191"/>
              <a:ext cx="313868" cy="13022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Arrow Connector 281"/>
            <p:cNvCxnSpPr>
              <a:endCxn id="293" idx="1"/>
            </p:cNvCxnSpPr>
            <p:nvPr/>
          </p:nvCxnSpPr>
          <p:spPr>
            <a:xfrm flipV="1">
              <a:off x="4949152" y="3265559"/>
              <a:ext cx="287484" cy="7077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9" name="Rectangle 268"/>
            <p:cNvSpPr/>
            <p:nvPr/>
          </p:nvSpPr>
          <p:spPr>
            <a:xfrm>
              <a:off x="4879858" y="1608481"/>
              <a:ext cx="61598" cy="2086064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3" name="AutoShape 17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236636" y="3139842"/>
              <a:ext cx="735711" cy="251433"/>
            </a:xfrm>
            <a:prstGeom prst="flowChartAlternateProcess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5782" tIns="47891" rIns="95782" bIns="47891" anchor="ctr">
              <a:prstTxWarp prst="textNoShape">
                <a:avLst/>
              </a:prstTxWarp>
              <a:noAutofit/>
            </a:bodyPr>
            <a:lstStyle/>
            <a:p>
              <a:pPr algn="ctr" defTabSz="957263"/>
              <a:r>
                <a:rPr lang="de-DE" sz="1000" dirty="0" smtClean="0"/>
                <a:t>Share</a:t>
              </a:r>
              <a:endParaRPr lang="de-DE" sz="1000" dirty="0"/>
            </a:p>
          </p:txBody>
        </p:sp>
        <p:sp>
          <p:nvSpPr>
            <p:cNvPr id="294" name="AutoShape 17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5252117" y="3536688"/>
              <a:ext cx="714198" cy="245006"/>
            </a:xfrm>
            <a:prstGeom prst="flowChartAlternateProcess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5782" tIns="47891" rIns="95782" bIns="47891" anchor="ctr">
              <a:prstTxWarp prst="textNoShape">
                <a:avLst/>
              </a:prstTxWarp>
              <a:noAutofit/>
            </a:bodyPr>
            <a:lstStyle/>
            <a:p>
              <a:pPr algn="ctr" defTabSz="957263"/>
              <a:r>
                <a:rPr lang="de-DE" sz="1000" dirty="0" smtClean="0"/>
                <a:t>Delete</a:t>
              </a:r>
              <a:endParaRPr lang="de-DE" sz="1000" dirty="0"/>
            </a:p>
          </p:txBody>
        </p:sp>
        <p:sp>
          <p:nvSpPr>
            <p:cNvPr id="297" name="AutoShape 17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5204271" y="2359042"/>
              <a:ext cx="764614" cy="233557"/>
            </a:xfrm>
            <a:prstGeom prst="flowChartAlternateProcess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5782" tIns="47891" rIns="95782" bIns="47891" anchor="ctr">
              <a:prstTxWarp prst="textNoShape">
                <a:avLst/>
              </a:prstTxWarp>
              <a:noAutofit/>
            </a:bodyPr>
            <a:lstStyle/>
            <a:p>
              <a:pPr algn="ctr" defTabSz="957263"/>
              <a:r>
                <a:rPr lang="de-DE" sz="1000" dirty="0" smtClean="0"/>
                <a:t>Store</a:t>
              </a:r>
              <a:endParaRPr lang="de-DE" sz="1000" dirty="0"/>
            </a:p>
          </p:txBody>
        </p:sp>
        <p:sp>
          <p:nvSpPr>
            <p:cNvPr id="299" name="AutoShape 17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5181492" y="1968642"/>
              <a:ext cx="764614" cy="233557"/>
            </a:xfrm>
            <a:prstGeom prst="flowChartAlternateProcess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5782" tIns="47891" rIns="95782" bIns="47891" anchor="ctr">
              <a:prstTxWarp prst="textNoShape">
                <a:avLst/>
              </a:prstTxWarp>
              <a:noAutofit/>
            </a:bodyPr>
            <a:lstStyle/>
            <a:p>
              <a:pPr algn="ctr" defTabSz="957263"/>
              <a:r>
                <a:rPr lang="de-DE" sz="1000" dirty="0" err="1"/>
                <a:t>U</a:t>
              </a:r>
              <a:r>
                <a:rPr lang="de-DE" sz="1000" dirty="0" err="1" smtClean="0"/>
                <a:t>se</a:t>
              </a:r>
              <a:endParaRPr lang="de-DE" sz="1000" dirty="0"/>
            </a:p>
          </p:txBody>
        </p:sp>
        <p:cxnSp>
          <p:nvCxnSpPr>
            <p:cNvPr id="318" name="Straight Arrow Connector 317"/>
            <p:cNvCxnSpPr>
              <a:endCxn id="299" idx="1"/>
            </p:cNvCxnSpPr>
            <p:nvPr/>
          </p:nvCxnSpPr>
          <p:spPr>
            <a:xfrm flipV="1">
              <a:off x="4937491" y="2085421"/>
              <a:ext cx="244001" cy="5384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Arrow Connector 319"/>
            <p:cNvCxnSpPr>
              <a:endCxn id="297" idx="1"/>
            </p:cNvCxnSpPr>
            <p:nvPr/>
          </p:nvCxnSpPr>
          <p:spPr>
            <a:xfrm flipV="1">
              <a:off x="4937491" y="2475821"/>
              <a:ext cx="266780" cy="11493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2" name="Rectangle 331"/>
            <p:cNvSpPr/>
            <p:nvPr/>
          </p:nvSpPr>
          <p:spPr>
            <a:xfrm>
              <a:off x="6215667" y="1658702"/>
              <a:ext cx="57363" cy="2058934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9" name="Straight Arrow Connector 338"/>
            <p:cNvCxnSpPr>
              <a:stCxn id="179" idx="3"/>
            </p:cNvCxnSpPr>
            <p:nvPr/>
          </p:nvCxnSpPr>
          <p:spPr>
            <a:xfrm flipV="1">
              <a:off x="5958125" y="2841606"/>
              <a:ext cx="245633" cy="13185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Arrow Connector 339"/>
            <p:cNvCxnSpPr>
              <a:stCxn id="294" idx="3"/>
            </p:cNvCxnSpPr>
            <p:nvPr/>
          </p:nvCxnSpPr>
          <p:spPr>
            <a:xfrm flipV="1">
              <a:off x="5966315" y="3657715"/>
              <a:ext cx="252837" cy="1476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Arrow Connector 340"/>
            <p:cNvCxnSpPr>
              <a:stCxn id="293" idx="3"/>
            </p:cNvCxnSpPr>
            <p:nvPr/>
          </p:nvCxnSpPr>
          <p:spPr>
            <a:xfrm flipV="1">
              <a:off x="5972347" y="3264939"/>
              <a:ext cx="246805" cy="620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Arrow Connector 341"/>
            <p:cNvCxnSpPr>
              <a:stCxn id="299" idx="3"/>
            </p:cNvCxnSpPr>
            <p:nvPr/>
          </p:nvCxnSpPr>
          <p:spPr>
            <a:xfrm flipV="1">
              <a:off x="5946106" y="2083108"/>
              <a:ext cx="245991" cy="2313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Arrow Connector 342"/>
            <p:cNvCxnSpPr>
              <a:stCxn id="297" idx="3"/>
            </p:cNvCxnSpPr>
            <p:nvPr/>
          </p:nvCxnSpPr>
          <p:spPr>
            <a:xfrm flipV="1">
              <a:off x="5968885" y="2464223"/>
              <a:ext cx="230909" cy="11598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triangle" w="med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2" name="AutoShape 19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26028" y="2596684"/>
            <a:ext cx="233363" cy="17843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5" name="TextBox 384"/>
          <p:cNvSpPr txBox="1"/>
          <p:nvPr/>
        </p:nvSpPr>
        <p:spPr>
          <a:xfrm>
            <a:off x="7116562" y="1905374"/>
            <a:ext cx="14972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dirty="0" smtClean="0"/>
              <a:t>Need to </a:t>
            </a:r>
            <a:endParaRPr lang="en-IE" sz="1100" dirty="0" smtClean="0"/>
          </a:p>
          <a:p>
            <a:r>
              <a:rPr lang="en-IE" sz="1100" dirty="0" smtClean="0"/>
              <a:t>contact </a:t>
            </a:r>
            <a:r>
              <a:rPr lang="en-IE" sz="1100" dirty="0" smtClean="0"/>
              <a:t>user?</a:t>
            </a:r>
            <a:endParaRPr lang="en-IE" sz="1100" dirty="0"/>
          </a:p>
        </p:txBody>
      </p:sp>
      <p:sp>
        <p:nvSpPr>
          <p:cNvPr id="182" name="AutoShape 19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02966" y="2402530"/>
            <a:ext cx="233363" cy="21590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6" name="AutoShape 17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97224" y="1100673"/>
            <a:ext cx="1589443" cy="2853642"/>
          </a:xfrm>
          <a:prstGeom prst="flowChartAlternateProcess">
            <a:avLst/>
          </a:prstGeom>
          <a:solidFill>
            <a:srgbClr val="D9D9D9"/>
          </a:solidFill>
          <a:ln w="9525">
            <a:solidFill>
              <a:srgbClr val="D9D9D9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b">
            <a:prstTxWarp prst="textNoShape">
              <a:avLst/>
            </a:prstTxWarp>
            <a:normAutofit/>
          </a:bodyPr>
          <a:lstStyle/>
          <a:p>
            <a:pPr algn="ctr" defTabSz="957263"/>
            <a:endParaRPr lang="de-DE" sz="900" dirty="0"/>
          </a:p>
        </p:txBody>
      </p:sp>
      <p:cxnSp>
        <p:nvCxnSpPr>
          <p:cNvPr id="216" name="Straight Arrow Connector 41"/>
          <p:cNvCxnSpPr/>
          <p:nvPr/>
        </p:nvCxnSpPr>
        <p:spPr>
          <a:xfrm rot="16200000" flipV="1">
            <a:off x="2348637" y="854943"/>
            <a:ext cx="169972" cy="2960132"/>
          </a:xfrm>
          <a:prstGeom prst="bentConnector3">
            <a:avLst>
              <a:gd name="adj1" fmla="val 886617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Arrow Connector 41"/>
          <p:cNvCxnSpPr/>
          <p:nvPr/>
        </p:nvCxnSpPr>
        <p:spPr>
          <a:xfrm flipV="1">
            <a:off x="4053595" y="2509776"/>
            <a:ext cx="204326" cy="704"/>
          </a:xfrm>
          <a:prstGeom prst="bentConnector3">
            <a:avLst>
              <a:gd name="adj1" fmla="val 50000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2" name="TextBox 231"/>
          <p:cNvSpPr txBox="1"/>
          <p:nvPr/>
        </p:nvSpPr>
        <p:spPr>
          <a:xfrm>
            <a:off x="3951937" y="2601209"/>
            <a:ext cx="2715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050" dirty="0"/>
              <a:t>N</a:t>
            </a:r>
          </a:p>
        </p:txBody>
      </p:sp>
      <p:cxnSp>
        <p:nvCxnSpPr>
          <p:cNvPr id="238" name="Straight Arrow Connector 237"/>
          <p:cNvCxnSpPr>
            <a:stCxn id="352" idx="3"/>
            <a:endCxn id="109" idx="1"/>
          </p:cNvCxnSpPr>
          <p:nvPr/>
        </p:nvCxnSpPr>
        <p:spPr>
          <a:xfrm flipV="1">
            <a:off x="7259391" y="2683751"/>
            <a:ext cx="614503" cy="2148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AutoShape 17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257872" y="4711291"/>
            <a:ext cx="3140728" cy="1008682"/>
          </a:xfrm>
          <a:prstGeom prst="flowChartAlternateProcess">
            <a:avLst/>
          </a:prstGeom>
          <a:solidFill>
            <a:srgbClr val="B3A2C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b">
            <a:prstTxWarp prst="textNoShape">
              <a:avLst/>
            </a:prstTxWarp>
            <a:normAutofit/>
          </a:bodyPr>
          <a:lstStyle/>
          <a:p>
            <a:pPr algn="ctr" defTabSz="957263"/>
            <a:r>
              <a:rPr lang="de-DE" b="1" dirty="0" err="1" smtClean="0">
                <a:solidFill>
                  <a:srgbClr val="FFFFFF"/>
                </a:solidFill>
              </a:rPr>
              <a:t>Consent</a:t>
            </a:r>
            <a:r>
              <a:rPr lang="de-DE" b="1" dirty="0" smtClean="0">
                <a:solidFill>
                  <a:srgbClr val="FFFFFF"/>
                </a:solidFill>
              </a:rPr>
              <a:t> Manager</a:t>
            </a:r>
            <a:endParaRPr lang="de-DE" b="1" dirty="0">
              <a:solidFill>
                <a:srgbClr val="FFFFFF"/>
              </a:solidFill>
            </a:endParaRPr>
          </a:p>
        </p:txBody>
      </p:sp>
      <p:cxnSp>
        <p:nvCxnSpPr>
          <p:cNvPr id="70" name="Straight Arrow Connector 69"/>
          <p:cNvCxnSpPr>
            <a:stCxn id="116" idx="2"/>
            <a:endCxn id="69" idx="1"/>
          </p:cNvCxnSpPr>
          <p:nvPr/>
        </p:nvCxnSpPr>
        <p:spPr>
          <a:xfrm rot="16200000" flipH="1">
            <a:off x="646825" y="3604584"/>
            <a:ext cx="1969295" cy="1252799"/>
          </a:xfrm>
          <a:prstGeom prst="bentConnector2">
            <a:avLst/>
          </a:prstGeom>
          <a:ln w="38100" cmpd="sng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AutoShape 17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694067" y="1630388"/>
            <a:ext cx="764614" cy="233557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000" dirty="0" smtClean="0"/>
              <a:t>Collect</a:t>
            </a:r>
            <a:endParaRPr lang="de-DE" sz="1000" dirty="0"/>
          </a:p>
        </p:txBody>
      </p:sp>
      <p:cxnSp>
        <p:nvCxnSpPr>
          <p:cNvPr id="79" name="Straight Arrow Connector 78"/>
          <p:cNvCxnSpPr>
            <a:endCxn id="78" idx="1"/>
          </p:cNvCxnSpPr>
          <p:nvPr/>
        </p:nvCxnSpPr>
        <p:spPr>
          <a:xfrm flipV="1">
            <a:off x="5450066" y="1747167"/>
            <a:ext cx="244001" cy="5384"/>
          </a:xfrm>
          <a:prstGeom prst="straightConnector1">
            <a:avLst/>
          </a:prstGeom>
          <a:ln w="15875">
            <a:solidFill>
              <a:schemeClr val="tx1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V="1">
            <a:off x="6448872" y="1744854"/>
            <a:ext cx="245991" cy="2313"/>
          </a:xfrm>
          <a:prstGeom prst="straightConnector1">
            <a:avLst/>
          </a:prstGeom>
          <a:ln w="15875">
            <a:solidFill>
              <a:schemeClr val="tx1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AutoShape 17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39424" y="4851035"/>
            <a:ext cx="766410" cy="489720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rmAutofit/>
          </a:bodyPr>
          <a:lstStyle/>
          <a:p>
            <a:pPr algn="ctr" defTabSz="957263"/>
            <a:r>
              <a:rPr lang="de-DE" sz="1100" dirty="0" smtClean="0"/>
              <a:t> Consent Validity</a:t>
            </a:r>
            <a:endParaRPr lang="de-DE" sz="1100" dirty="0"/>
          </a:p>
        </p:txBody>
      </p:sp>
      <p:sp>
        <p:nvSpPr>
          <p:cNvPr id="88" name="AutoShape 17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359634" y="4857533"/>
            <a:ext cx="880976" cy="489720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100" dirty="0" smtClean="0"/>
              <a:t> Consent Permission</a:t>
            </a:r>
            <a:endParaRPr lang="de-DE" sz="1100" dirty="0"/>
          </a:p>
        </p:txBody>
      </p:sp>
      <p:cxnSp>
        <p:nvCxnSpPr>
          <p:cNvPr id="15" name="Elbow Connector 14"/>
          <p:cNvCxnSpPr>
            <a:stCxn id="202" idx="2"/>
            <a:endCxn id="88" idx="0"/>
          </p:cNvCxnSpPr>
          <p:nvPr/>
        </p:nvCxnSpPr>
        <p:spPr>
          <a:xfrm rot="16200000" flipH="1">
            <a:off x="3711778" y="3769188"/>
            <a:ext cx="2036225" cy="140464"/>
          </a:xfrm>
          <a:prstGeom prst="bentConnector3">
            <a:avLst>
              <a:gd name="adj1" fmla="val 50000"/>
            </a:avLst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3" name="Elbow Connector 92"/>
          <p:cNvCxnSpPr>
            <a:stCxn id="87" idx="0"/>
          </p:cNvCxnSpPr>
          <p:nvPr/>
        </p:nvCxnSpPr>
        <p:spPr>
          <a:xfrm rot="16200000" flipV="1">
            <a:off x="2189885" y="4218291"/>
            <a:ext cx="897620" cy="3678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199081" y="4216458"/>
            <a:ext cx="12451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smtClean="0"/>
              <a:t>Consent/data expired</a:t>
            </a:r>
            <a:endParaRPr lang="en-IE" sz="1100" dirty="0"/>
          </a:p>
        </p:txBody>
      </p:sp>
      <p:sp>
        <p:nvSpPr>
          <p:cNvPr id="35" name="TextBox 34"/>
          <p:cNvSpPr txBox="1"/>
          <p:nvPr/>
        </p:nvSpPr>
        <p:spPr>
          <a:xfrm>
            <a:off x="1585439" y="992753"/>
            <a:ext cx="21218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text   </a:t>
            </a:r>
            <a:endParaRPr lang="en-US" dirty="0" smtClean="0"/>
          </a:p>
          <a:p>
            <a:pPr algn="ctr"/>
            <a:r>
              <a:rPr lang="en-US" dirty="0" smtClean="0"/>
              <a:t>Management</a:t>
            </a:r>
            <a:endParaRPr lang="en-IE" dirty="0"/>
          </a:p>
        </p:txBody>
      </p:sp>
      <p:sp>
        <p:nvSpPr>
          <p:cNvPr id="115" name="TextBox 114"/>
          <p:cNvSpPr txBox="1"/>
          <p:nvPr/>
        </p:nvSpPr>
        <p:spPr>
          <a:xfrm>
            <a:off x="5204294" y="1021708"/>
            <a:ext cx="1670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Data </a:t>
            </a:r>
            <a:r>
              <a:rPr lang="en-US" dirty="0" smtClean="0"/>
              <a:t>Management</a:t>
            </a:r>
            <a:endParaRPr lang="en-IE" dirty="0"/>
          </a:p>
        </p:txBody>
      </p:sp>
      <p:sp>
        <p:nvSpPr>
          <p:cNvPr id="154" name="AutoShape 17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390858" y="4867969"/>
            <a:ext cx="877908" cy="489720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100" dirty="0" smtClean="0"/>
              <a:t> Consent Obligation</a:t>
            </a:r>
            <a:endParaRPr lang="de-DE" sz="1100" dirty="0"/>
          </a:p>
        </p:txBody>
      </p:sp>
      <p:cxnSp>
        <p:nvCxnSpPr>
          <p:cNvPr id="155" name="Elbow Connector 154"/>
          <p:cNvCxnSpPr>
            <a:endCxn id="154" idx="0"/>
          </p:cNvCxnSpPr>
          <p:nvPr/>
        </p:nvCxnSpPr>
        <p:spPr>
          <a:xfrm rot="5400000">
            <a:off x="2756046" y="3703048"/>
            <a:ext cx="2238688" cy="91155"/>
          </a:xfrm>
          <a:prstGeom prst="bentConnector3">
            <a:avLst>
              <a:gd name="adj1" fmla="val 50000"/>
            </a:avLst>
          </a:prstGeom>
          <a:ln>
            <a:headEnd type="triangl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3087852" y="1888772"/>
            <a:ext cx="82375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E" sz="1100" dirty="0" smtClean="0"/>
              <a:t> </a:t>
            </a:r>
            <a:r>
              <a:rPr lang="en-IE" sz="1100" dirty="0" smtClean="0"/>
              <a:t>Need </a:t>
            </a:r>
            <a:r>
              <a:rPr lang="en-IE" sz="1100" dirty="0" smtClean="0"/>
              <a:t>to contact user?</a:t>
            </a:r>
            <a:endParaRPr lang="en-IE" sz="1100" dirty="0"/>
          </a:p>
        </p:txBody>
      </p:sp>
      <p:sp>
        <p:nvSpPr>
          <p:cNvPr id="102" name="TextBox 101"/>
          <p:cNvSpPr txBox="1"/>
          <p:nvPr/>
        </p:nvSpPr>
        <p:spPr>
          <a:xfrm>
            <a:off x="3304443" y="914888"/>
            <a:ext cx="12184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ontact  user </a:t>
            </a:r>
            <a:endParaRPr lang="en-IE" sz="1200" dirty="0"/>
          </a:p>
        </p:txBody>
      </p:sp>
      <p:sp>
        <p:nvSpPr>
          <p:cNvPr id="172" name="AutoShape 17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24619" y="4910675"/>
            <a:ext cx="2164602" cy="609598"/>
          </a:xfrm>
          <a:prstGeom prst="flowChartAlternate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b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dirty="0" err="1" smtClean="0"/>
              <a:t>Provenance</a:t>
            </a:r>
            <a:r>
              <a:rPr lang="de-DE" dirty="0" smtClean="0"/>
              <a:t> Manager</a:t>
            </a:r>
            <a:endParaRPr lang="de-DE" dirty="0"/>
          </a:p>
        </p:txBody>
      </p:sp>
      <p:cxnSp>
        <p:nvCxnSpPr>
          <p:cNvPr id="174" name="Elbow Connector 173"/>
          <p:cNvCxnSpPr>
            <a:stCxn id="69" idx="3"/>
            <a:endCxn id="172" idx="1"/>
          </p:cNvCxnSpPr>
          <p:nvPr/>
        </p:nvCxnSpPr>
        <p:spPr>
          <a:xfrm flipV="1">
            <a:off x="5398600" y="5215474"/>
            <a:ext cx="526019" cy="15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3" name="Straight Arrow Connector 182"/>
          <p:cNvCxnSpPr>
            <a:stCxn id="200" idx="2"/>
            <a:endCxn id="172" idx="0"/>
          </p:cNvCxnSpPr>
          <p:nvPr/>
        </p:nvCxnSpPr>
        <p:spPr>
          <a:xfrm rot="16200000" flipH="1">
            <a:off x="6100968" y="4004722"/>
            <a:ext cx="844137" cy="967767"/>
          </a:xfrm>
          <a:prstGeom prst="bentConnector3">
            <a:avLst>
              <a:gd name="adj1" fmla="val 50000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AutoShape 17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38265" y="1584854"/>
            <a:ext cx="1188159" cy="696534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000" dirty="0" smtClean="0"/>
              <a:t>Process provider initiated change of context</a:t>
            </a:r>
            <a:endParaRPr lang="de-DE" sz="1000" dirty="0"/>
          </a:p>
        </p:txBody>
      </p:sp>
      <p:sp>
        <p:nvSpPr>
          <p:cNvPr id="97" name="AutoShape 17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38267" y="2331724"/>
            <a:ext cx="1188159" cy="696534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000" dirty="0" smtClean="0"/>
              <a:t>Environmental change of context</a:t>
            </a:r>
            <a:endParaRPr lang="de-DE" sz="1000" dirty="0"/>
          </a:p>
        </p:txBody>
      </p:sp>
      <p:sp>
        <p:nvSpPr>
          <p:cNvPr id="98" name="AutoShape 17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038267" y="3099770"/>
            <a:ext cx="1188159" cy="696534"/>
          </a:xfrm>
          <a:prstGeom prst="flowChartAlternateProcess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782" tIns="47891" rIns="95782" bIns="47891" anchor="ctr">
            <a:prstTxWarp prst="textNoShape">
              <a:avLst/>
            </a:prstTxWarp>
            <a:noAutofit/>
          </a:bodyPr>
          <a:lstStyle/>
          <a:p>
            <a:pPr algn="ctr" defTabSz="957263"/>
            <a:r>
              <a:rPr lang="de-DE" sz="1000" dirty="0" smtClean="0"/>
              <a:t>Right enforcement initiated change of context</a:t>
            </a:r>
            <a:endParaRPr lang="de-DE" sz="1000" dirty="0"/>
          </a:p>
        </p:txBody>
      </p:sp>
      <p:cxnSp>
        <p:nvCxnSpPr>
          <p:cNvPr id="161" name="Curved Connector 160"/>
          <p:cNvCxnSpPr>
            <a:stCxn id="352" idx="0"/>
          </p:cNvCxnSpPr>
          <p:nvPr/>
        </p:nvCxnSpPr>
        <p:spPr>
          <a:xfrm rot="16200000" flipV="1">
            <a:off x="6287031" y="1741004"/>
            <a:ext cx="1711359" cy="1"/>
          </a:xfrm>
          <a:prstGeom prst="curved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uppierung 425"/>
          <p:cNvGrpSpPr/>
          <p:nvPr/>
        </p:nvGrpSpPr>
        <p:grpSpPr>
          <a:xfrm>
            <a:off x="7937440" y="4425280"/>
            <a:ext cx="146051" cy="144463"/>
            <a:chOff x="2031999" y="4992689"/>
            <a:chExt cx="146051" cy="144463"/>
          </a:xfrm>
        </p:grpSpPr>
        <p:sp>
          <p:nvSpPr>
            <p:cNvPr id="167" name="Oval 23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031999" y="4992689"/>
              <a:ext cx="146051" cy="14446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Oval 167"/>
            <p:cNvSpPr/>
            <p:nvPr/>
          </p:nvSpPr>
          <p:spPr>
            <a:xfrm>
              <a:off x="2063750" y="5022850"/>
              <a:ext cx="81280" cy="81280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cxnSp>
        <p:nvCxnSpPr>
          <p:cNvPr id="169" name="Straight Arrow Connector 168"/>
          <p:cNvCxnSpPr>
            <a:stCxn id="180" idx="2"/>
          </p:cNvCxnSpPr>
          <p:nvPr/>
        </p:nvCxnSpPr>
        <p:spPr>
          <a:xfrm>
            <a:off x="8008767" y="4080999"/>
            <a:ext cx="0" cy="338159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3925399" y="914888"/>
            <a:ext cx="322733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Arrow Connector 41"/>
          <p:cNvCxnSpPr/>
          <p:nvPr/>
        </p:nvCxnSpPr>
        <p:spPr>
          <a:xfrm flipV="1">
            <a:off x="5043130" y="2520507"/>
            <a:ext cx="204326" cy="704"/>
          </a:xfrm>
          <a:prstGeom prst="bentConnector3">
            <a:avLst>
              <a:gd name="adj1" fmla="val 50000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AutoShape 19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873894" y="2594536"/>
            <a:ext cx="233363" cy="178430"/>
          </a:xfrm>
          <a:prstGeom prst="flowChartDecision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9" name="TextBox 128"/>
          <p:cNvSpPr txBox="1"/>
          <p:nvPr/>
        </p:nvSpPr>
        <p:spPr>
          <a:xfrm>
            <a:off x="7996458" y="2239584"/>
            <a:ext cx="13507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100" dirty="0" smtClean="0"/>
              <a:t>All Subject Data Destroyed?</a:t>
            </a:r>
            <a:endParaRPr lang="en-IE" sz="1100" dirty="0"/>
          </a:p>
        </p:txBody>
      </p:sp>
      <p:cxnSp>
        <p:nvCxnSpPr>
          <p:cNvPr id="131" name="Straight Arrow Connector 130"/>
          <p:cNvCxnSpPr>
            <a:stCxn id="109" idx="2"/>
            <a:endCxn id="180" idx="0"/>
          </p:cNvCxnSpPr>
          <p:nvPr/>
        </p:nvCxnSpPr>
        <p:spPr>
          <a:xfrm>
            <a:off x="7990576" y="2772966"/>
            <a:ext cx="18191" cy="489835"/>
          </a:xfrm>
          <a:prstGeom prst="straightConnector1">
            <a:avLst/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7707078" y="2293037"/>
            <a:ext cx="2715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050" dirty="0"/>
              <a:t>N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8076229" y="2756949"/>
            <a:ext cx="2534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1100" dirty="0"/>
              <a:t>Y</a:t>
            </a:r>
          </a:p>
        </p:txBody>
      </p:sp>
      <p:cxnSp>
        <p:nvCxnSpPr>
          <p:cNvPr id="94" name="Straight Arrow Connector 41"/>
          <p:cNvCxnSpPr>
            <a:stCxn id="109" idx="0"/>
            <a:endCxn id="202" idx="0"/>
          </p:cNvCxnSpPr>
          <p:nvPr/>
        </p:nvCxnSpPr>
        <p:spPr>
          <a:xfrm rot="16200000" flipV="1">
            <a:off x="6126971" y="730931"/>
            <a:ext cx="396292" cy="3330918"/>
          </a:xfrm>
          <a:prstGeom prst="bentConnector3">
            <a:avLst>
              <a:gd name="adj1" fmla="val 401243"/>
            </a:avLst>
          </a:prstGeom>
          <a:ln w="15875">
            <a:solidFill>
              <a:srgbClr val="000000"/>
            </a:solidFill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58664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E73B9"/>
        </a:solidFill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</TotalTime>
  <Words>904</Words>
  <Application>Microsoft Macintosh PowerPoint</Application>
  <PresentationFormat>On-screen Show (4:3)</PresentationFormat>
  <Paragraphs>175</Paragraphs>
  <Slides>1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Office Theme</vt:lpstr>
      <vt:lpstr>Compliance through Informed Consent: Semantic Based Consent Permission and Data Management Model  </vt:lpstr>
      <vt:lpstr>EU’s General Data Protection Regulation</vt:lpstr>
      <vt:lpstr>Key GDPR Provisions </vt:lpstr>
      <vt:lpstr>Data Subject RIghts</vt:lpstr>
      <vt:lpstr>GDPR Roles and Processes</vt:lpstr>
      <vt:lpstr>GDPR Roles and Open Data</vt:lpstr>
      <vt:lpstr>Requirements for Consent </vt:lpstr>
      <vt:lpstr>Data vs. Consent Lifecycle</vt:lpstr>
      <vt:lpstr>PowerPoint Presentation</vt:lpstr>
      <vt:lpstr>Consent Ontology</vt:lpstr>
      <vt:lpstr>Annotation of consent with elements of ontology in RDFa</vt:lpstr>
      <vt:lpstr> RDF representation of the annotated XHTML </vt:lpstr>
      <vt:lpstr>XACML Permission Rule generated using XPARQL</vt:lpstr>
      <vt:lpstr>Conclusions and Further Work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athan</dc:creator>
  <cp:lastModifiedBy>David Lewis</cp:lastModifiedBy>
  <cp:revision>79</cp:revision>
  <dcterms:created xsi:type="dcterms:W3CDTF">2014-12-03T09:51:17Z</dcterms:created>
  <dcterms:modified xsi:type="dcterms:W3CDTF">2017-10-22T09:15:13Z</dcterms:modified>
</cp:coreProperties>
</file>